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4"/>
  </p:sldMasterIdLst>
  <p:notesMasterIdLst>
    <p:notesMasterId r:id="rId37"/>
  </p:notesMasterIdLst>
  <p:handoutMasterIdLst>
    <p:handoutMasterId r:id="rId38"/>
  </p:handoutMasterIdLst>
  <p:sldIdLst>
    <p:sldId id="256" r:id="rId5"/>
    <p:sldId id="302" r:id="rId6"/>
    <p:sldId id="289" r:id="rId7"/>
    <p:sldId id="303" r:id="rId8"/>
    <p:sldId id="307" r:id="rId9"/>
    <p:sldId id="308" r:id="rId10"/>
    <p:sldId id="309" r:id="rId11"/>
    <p:sldId id="310" r:id="rId12"/>
    <p:sldId id="375" r:id="rId13"/>
    <p:sldId id="372" r:id="rId14"/>
    <p:sldId id="373" r:id="rId15"/>
    <p:sldId id="378" r:id="rId16"/>
    <p:sldId id="374" r:id="rId17"/>
    <p:sldId id="442" r:id="rId18"/>
    <p:sldId id="443" r:id="rId19"/>
    <p:sldId id="445" r:id="rId20"/>
    <p:sldId id="446" r:id="rId21"/>
    <p:sldId id="376" r:id="rId22"/>
    <p:sldId id="377" r:id="rId23"/>
    <p:sldId id="437" r:id="rId24"/>
    <p:sldId id="438" r:id="rId25"/>
    <p:sldId id="439" r:id="rId26"/>
    <p:sldId id="440" r:id="rId27"/>
    <p:sldId id="398" r:id="rId28"/>
    <p:sldId id="399" r:id="rId29"/>
    <p:sldId id="401" r:id="rId30"/>
    <p:sldId id="402" r:id="rId31"/>
    <p:sldId id="403" r:id="rId32"/>
    <p:sldId id="404" r:id="rId33"/>
    <p:sldId id="405" r:id="rId34"/>
    <p:sldId id="406" r:id="rId35"/>
    <p:sldId id="436" r:id="rId36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304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14" autoAdjust="0"/>
    <p:restoredTop sz="89659" autoAdjust="0"/>
  </p:normalViewPr>
  <p:slideViewPr>
    <p:cSldViewPr snapToGrid="0">
      <p:cViewPr varScale="1">
        <p:scale>
          <a:sx n="62" d="100"/>
          <a:sy n="62" d="100"/>
        </p:scale>
        <p:origin x="828" y="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notesMaster" Target="notesMasters/notesMaster1.xml"/><Relationship Id="rId40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#5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B139E82-0E96-4E4B-B743-836EECE73DCA}" type="doc">
      <dgm:prSet loTypeId="urn:microsoft.com/office/officeart/2005/8/layout/list1" loCatId="list" qsTypeId="urn:microsoft.com/office/officeart/2005/8/quickstyle/simple1" qsCatId="simple" csTypeId="urn:microsoft.com/office/officeart/2005/8/colors/colorful1#5" csCatId="colorful" phldr="1"/>
      <dgm:spPr/>
      <dgm:t>
        <a:bodyPr/>
        <a:lstStyle/>
        <a:p>
          <a:endParaRPr lang="en-US"/>
        </a:p>
      </dgm:t>
    </dgm:pt>
    <dgm:pt modelId="{3493180C-C257-4A32-9443-9B257A9A51E8}">
      <dgm:prSet phldrT="[Text]"/>
      <dgm:spPr/>
      <dgm:t>
        <a:bodyPr/>
        <a:lstStyle/>
        <a:p>
          <a:r>
            <a:rPr lang="en-US" dirty="0"/>
            <a:t>Routes</a:t>
          </a:r>
        </a:p>
      </dgm:t>
    </dgm:pt>
    <dgm:pt modelId="{E81FFBD2-51A1-4391-8AD6-1B7C71A47765}" type="parTrans" cxnId="{8E2CB026-4F1A-4438-9B39-6DB81168BB94}">
      <dgm:prSet/>
      <dgm:spPr/>
      <dgm:t>
        <a:bodyPr/>
        <a:lstStyle/>
        <a:p>
          <a:endParaRPr lang="en-US"/>
        </a:p>
      </dgm:t>
    </dgm:pt>
    <dgm:pt modelId="{C46921B0-7894-4F0B-A01C-095981137C2F}" type="sibTrans" cxnId="{8E2CB026-4F1A-4438-9B39-6DB81168BB94}">
      <dgm:prSet/>
      <dgm:spPr/>
      <dgm:t>
        <a:bodyPr/>
        <a:lstStyle/>
        <a:p>
          <a:endParaRPr lang="en-US"/>
        </a:p>
      </dgm:t>
    </dgm:pt>
    <dgm:pt modelId="{4E63D4FE-7AAE-48BB-A0ED-710D59525F45}">
      <dgm:prSet phldrT="[Text]"/>
      <dgm:spPr/>
      <dgm:t>
        <a:bodyPr/>
        <a:lstStyle/>
        <a:p>
          <a:r>
            <a:rPr lang="en-US" dirty="0" err="1"/>
            <a:t>RouterOutlet</a:t>
          </a:r>
          <a:endParaRPr lang="en-US" dirty="0"/>
        </a:p>
      </dgm:t>
    </dgm:pt>
    <dgm:pt modelId="{9D73CAD4-791C-48BF-B5BB-846D48651313}" type="parTrans" cxnId="{190DC10D-C7CF-4C43-A156-FA21CC9972DC}">
      <dgm:prSet/>
      <dgm:spPr/>
      <dgm:t>
        <a:bodyPr/>
        <a:lstStyle/>
        <a:p>
          <a:endParaRPr lang="en-US"/>
        </a:p>
      </dgm:t>
    </dgm:pt>
    <dgm:pt modelId="{F2AC56E0-D51E-4422-8427-B7E3C90F9D4F}" type="sibTrans" cxnId="{190DC10D-C7CF-4C43-A156-FA21CC9972DC}">
      <dgm:prSet/>
      <dgm:spPr/>
      <dgm:t>
        <a:bodyPr/>
        <a:lstStyle/>
        <a:p>
          <a:endParaRPr lang="en-US"/>
        </a:p>
      </dgm:t>
    </dgm:pt>
    <dgm:pt modelId="{C5FDCAE3-F073-4BEC-97E5-C1B00F6CB50C}">
      <dgm:prSet phldrT="[Text]"/>
      <dgm:spPr/>
      <dgm:t>
        <a:bodyPr/>
        <a:lstStyle/>
        <a:p>
          <a:r>
            <a:rPr lang="en-US" dirty="0" err="1"/>
            <a:t>RouterLink</a:t>
          </a:r>
          <a:endParaRPr lang="en-US" dirty="0"/>
        </a:p>
      </dgm:t>
    </dgm:pt>
    <dgm:pt modelId="{179052F4-1FA2-484C-A436-1F5B4CFCF093}" type="parTrans" cxnId="{8C6189C2-F1DA-4B5B-8D11-08E23E931CCD}">
      <dgm:prSet/>
      <dgm:spPr/>
      <dgm:t>
        <a:bodyPr/>
        <a:lstStyle/>
        <a:p>
          <a:endParaRPr lang="en-US"/>
        </a:p>
      </dgm:t>
    </dgm:pt>
    <dgm:pt modelId="{3FE22699-9401-4093-89F8-B1D6724FCBD0}" type="sibTrans" cxnId="{8C6189C2-F1DA-4B5B-8D11-08E23E931CCD}">
      <dgm:prSet/>
      <dgm:spPr/>
      <dgm:t>
        <a:bodyPr/>
        <a:lstStyle/>
        <a:p>
          <a:endParaRPr lang="en-US"/>
        </a:p>
      </dgm:t>
    </dgm:pt>
    <dgm:pt modelId="{A3D06D15-990C-462C-B4C0-C2368A054006}">
      <dgm:prSet phldrT="[Text]"/>
      <dgm:spPr/>
      <dgm:t>
        <a:bodyPr/>
        <a:lstStyle/>
        <a:p>
          <a:r>
            <a:rPr lang="en-US" dirty="0"/>
            <a:t>Describes the routes application supports</a:t>
          </a:r>
        </a:p>
      </dgm:t>
    </dgm:pt>
    <dgm:pt modelId="{24CCFC74-8520-484E-9D9B-1344CA103932}" type="parTrans" cxnId="{4D0CB3D3-E333-4400-851D-A6487384239A}">
      <dgm:prSet/>
      <dgm:spPr/>
      <dgm:t>
        <a:bodyPr/>
        <a:lstStyle/>
        <a:p>
          <a:endParaRPr lang="en-US"/>
        </a:p>
      </dgm:t>
    </dgm:pt>
    <dgm:pt modelId="{64FC0340-C39E-4621-98E9-765FB87BEE6B}" type="sibTrans" cxnId="{4D0CB3D3-E333-4400-851D-A6487384239A}">
      <dgm:prSet/>
      <dgm:spPr/>
      <dgm:t>
        <a:bodyPr/>
        <a:lstStyle/>
        <a:p>
          <a:endParaRPr lang="en-US"/>
        </a:p>
      </dgm:t>
    </dgm:pt>
    <dgm:pt modelId="{15E82150-E1CD-4926-AC33-A124C04DF4C5}">
      <dgm:prSet phldrT="[Text]"/>
      <dgm:spPr/>
      <dgm:t>
        <a:bodyPr/>
        <a:lstStyle/>
        <a:p>
          <a:r>
            <a:rPr lang="en-US" dirty="0"/>
            <a:t>A “placeholder” component that gets expanded to each route’s content</a:t>
          </a:r>
        </a:p>
      </dgm:t>
    </dgm:pt>
    <dgm:pt modelId="{369B4D64-3E96-438C-8B2C-C83417407982}" type="parTrans" cxnId="{F6E8FDEB-C86C-4A0A-81B0-D1BD1A105764}">
      <dgm:prSet/>
      <dgm:spPr/>
      <dgm:t>
        <a:bodyPr/>
        <a:lstStyle/>
        <a:p>
          <a:endParaRPr lang="en-US"/>
        </a:p>
      </dgm:t>
    </dgm:pt>
    <dgm:pt modelId="{9037E126-F381-4872-A3C1-138DDC9503BC}" type="sibTrans" cxnId="{F6E8FDEB-C86C-4A0A-81B0-D1BD1A105764}">
      <dgm:prSet/>
      <dgm:spPr/>
      <dgm:t>
        <a:bodyPr/>
        <a:lstStyle/>
        <a:p>
          <a:endParaRPr lang="en-US"/>
        </a:p>
      </dgm:t>
    </dgm:pt>
    <dgm:pt modelId="{564101DD-7A9F-409F-BC73-B0577E5D99C4}">
      <dgm:prSet phldrT="[Text]"/>
      <dgm:spPr/>
      <dgm:t>
        <a:bodyPr/>
        <a:lstStyle/>
        <a:p>
          <a:r>
            <a:rPr lang="en-US" dirty="0"/>
            <a:t>Directive is used to link to routes</a:t>
          </a:r>
        </a:p>
      </dgm:t>
    </dgm:pt>
    <dgm:pt modelId="{5DD08C45-B7E7-4301-9588-AEB26756C0A6}" type="parTrans" cxnId="{A48512EC-57DC-4C46-AE25-A67DF27927E4}">
      <dgm:prSet/>
      <dgm:spPr/>
      <dgm:t>
        <a:bodyPr/>
        <a:lstStyle/>
        <a:p>
          <a:endParaRPr lang="en-US"/>
        </a:p>
      </dgm:t>
    </dgm:pt>
    <dgm:pt modelId="{0CE170BE-CFB3-4AEE-AAF5-4A53EF9DB0E7}" type="sibTrans" cxnId="{A48512EC-57DC-4C46-AE25-A67DF27927E4}">
      <dgm:prSet/>
      <dgm:spPr/>
      <dgm:t>
        <a:bodyPr/>
        <a:lstStyle/>
        <a:p>
          <a:endParaRPr lang="en-US"/>
        </a:p>
      </dgm:t>
    </dgm:pt>
    <dgm:pt modelId="{251340C3-2AC9-4308-AFBE-AC8735102FD5}" type="pres">
      <dgm:prSet presAssocID="{AB139E82-0E96-4E4B-B743-836EECE73DCA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6B525B2B-9980-4FC9-9D10-3B997AE7D833}" type="pres">
      <dgm:prSet presAssocID="{3493180C-C257-4A32-9443-9B257A9A51E8}" presName="parentLin" presStyleCnt="0"/>
      <dgm:spPr/>
    </dgm:pt>
    <dgm:pt modelId="{635F396B-A88C-4018-B1A4-D6881F364A05}" type="pres">
      <dgm:prSet presAssocID="{3493180C-C257-4A32-9443-9B257A9A51E8}" presName="parentLeftMargin" presStyleLbl="node1" presStyleIdx="0" presStyleCnt="3"/>
      <dgm:spPr/>
      <dgm:t>
        <a:bodyPr/>
        <a:lstStyle/>
        <a:p>
          <a:endParaRPr lang="en-US"/>
        </a:p>
      </dgm:t>
    </dgm:pt>
    <dgm:pt modelId="{05BB0DDC-0F9E-47EA-A027-2D3BD96A0DBA}" type="pres">
      <dgm:prSet presAssocID="{3493180C-C257-4A32-9443-9B257A9A51E8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066DF88-47F2-43B2-9801-DD766360524C}" type="pres">
      <dgm:prSet presAssocID="{3493180C-C257-4A32-9443-9B257A9A51E8}" presName="negativeSpace" presStyleCnt="0"/>
      <dgm:spPr/>
    </dgm:pt>
    <dgm:pt modelId="{A640872B-2376-44FE-AA69-8A0883A68682}" type="pres">
      <dgm:prSet presAssocID="{3493180C-C257-4A32-9443-9B257A9A51E8}" presName="childText" presStyleLbl="conFgAcc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57082D9-A2FA-4EEB-A9F7-52C8B34ED794}" type="pres">
      <dgm:prSet presAssocID="{C46921B0-7894-4F0B-A01C-095981137C2F}" presName="spaceBetweenRectangles" presStyleCnt="0"/>
      <dgm:spPr/>
    </dgm:pt>
    <dgm:pt modelId="{96826B2D-9E5C-4E06-9E30-988DB57ED335}" type="pres">
      <dgm:prSet presAssocID="{4E63D4FE-7AAE-48BB-A0ED-710D59525F45}" presName="parentLin" presStyleCnt="0"/>
      <dgm:spPr/>
    </dgm:pt>
    <dgm:pt modelId="{3CA67AEB-F96E-4E48-95A9-E5CCC2CD525C}" type="pres">
      <dgm:prSet presAssocID="{4E63D4FE-7AAE-48BB-A0ED-710D59525F45}" presName="parentLeftMargin" presStyleLbl="node1" presStyleIdx="0" presStyleCnt="3"/>
      <dgm:spPr/>
      <dgm:t>
        <a:bodyPr/>
        <a:lstStyle/>
        <a:p>
          <a:endParaRPr lang="en-US"/>
        </a:p>
      </dgm:t>
    </dgm:pt>
    <dgm:pt modelId="{FFCF5D1E-4D99-4E79-9506-B6ECF47AE092}" type="pres">
      <dgm:prSet presAssocID="{4E63D4FE-7AAE-48BB-A0ED-710D59525F45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5B157FF-55F3-4D94-981C-9EFA091EE6EA}" type="pres">
      <dgm:prSet presAssocID="{4E63D4FE-7AAE-48BB-A0ED-710D59525F45}" presName="negativeSpace" presStyleCnt="0"/>
      <dgm:spPr/>
    </dgm:pt>
    <dgm:pt modelId="{1FF94A68-B47A-443E-B4B7-61071BC5DBB5}" type="pres">
      <dgm:prSet presAssocID="{4E63D4FE-7AAE-48BB-A0ED-710D59525F45}" presName="childText" presStyleLbl="conFgAcc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6FE3FF6-171E-4DAD-AE8D-3520D4CAD18D}" type="pres">
      <dgm:prSet presAssocID="{F2AC56E0-D51E-4422-8427-B7E3C90F9D4F}" presName="spaceBetweenRectangles" presStyleCnt="0"/>
      <dgm:spPr/>
    </dgm:pt>
    <dgm:pt modelId="{EE40574C-3FE3-4267-8899-94F19F16634C}" type="pres">
      <dgm:prSet presAssocID="{C5FDCAE3-F073-4BEC-97E5-C1B00F6CB50C}" presName="parentLin" presStyleCnt="0"/>
      <dgm:spPr/>
    </dgm:pt>
    <dgm:pt modelId="{F4E4020F-197F-4470-85FB-E1FBE92F18BF}" type="pres">
      <dgm:prSet presAssocID="{C5FDCAE3-F073-4BEC-97E5-C1B00F6CB50C}" presName="parentLeftMargin" presStyleLbl="node1" presStyleIdx="1" presStyleCnt="3"/>
      <dgm:spPr/>
      <dgm:t>
        <a:bodyPr/>
        <a:lstStyle/>
        <a:p>
          <a:endParaRPr lang="en-US"/>
        </a:p>
      </dgm:t>
    </dgm:pt>
    <dgm:pt modelId="{700B3221-BEBF-4637-A0BF-60E282B54BE5}" type="pres">
      <dgm:prSet presAssocID="{C5FDCAE3-F073-4BEC-97E5-C1B00F6CB50C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5F394DF-EC52-425F-A75C-72D63B47266E}" type="pres">
      <dgm:prSet presAssocID="{C5FDCAE3-F073-4BEC-97E5-C1B00F6CB50C}" presName="negativeSpace" presStyleCnt="0"/>
      <dgm:spPr/>
    </dgm:pt>
    <dgm:pt modelId="{F6601127-57FB-4DD0-98B2-4C93211F2DB4}" type="pres">
      <dgm:prSet presAssocID="{C5FDCAE3-F073-4BEC-97E5-C1B00F6CB50C}" presName="childText" presStyleLbl="conFgAcc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E973174B-E7A1-4F4F-9850-6B6B65675545}" type="presOf" srcId="{AB139E82-0E96-4E4B-B743-836EECE73DCA}" destId="{251340C3-2AC9-4308-AFBE-AC8735102FD5}" srcOrd="0" destOrd="0" presId="urn:microsoft.com/office/officeart/2005/8/layout/list1"/>
    <dgm:cxn modelId="{8C6189C2-F1DA-4B5B-8D11-08E23E931CCD}" srcId="{AB139E82-0E96-4E4B-B743-836EECE73DCA}" destId="{C5FDCAE3-F073-4BEC-97E5-C1B00F6CB50C}" srcOrd="2" destOrd="0" parTransId="{179052F4-1FA2-484C-A436-1F5B4CFCF093}" sibTransId="{3FE22699-9401-4093-89F8-B1D6724FCBD0}"/>
    <dgm:cxn modelId="{86040C37-58FD-4EFF-AA6C-5D6940A825A4}" type="presOf" srcId="{564101DD-7A9F-409F-BC73-B0577E5D99C4}" destId="{F6601127-57FB-4DD0-98B2-4C93211F2DB4}" srcOrd="0" destOrd="0" presId="urn:microsoft.com/office/officeart/2005/8/layout/list1"/>
    <dgm:cxn modelId="{0ACAB927-B9CD-45B7-BA12-750A67515384}" type="presOf" srcId="{C5FDCAE3-F073-4BEC-97E5-C1B00F6CB50C}" destId="{700B3221-BEBF-4637-A0BF-60E282B54BE5}" srcOrd="1" destOrd="0" presId="urn:microsoft.com/office/officeart/2005/8/layout/list1"/>
    <dgm:cxn modelId="{8E2CB026-4F1A-4438-9B39-6DB81168BB94}" srcId="{AB139E82-0E96-4E4B-B743-836EECE73DCA}" destId="{3493180C-C257-4A32-9443-9B257A9A51E8}" srcOrd="0" destOrd="0" parTransId="{E81FFBD2-51A1-4391-8AD6-1B7C71A47765}" sibTransId="{C46921B0-7894-4F0B-A01C-095981137C2F}"/>
    <dgm:cxn modelId="{4D0CB3D3-E333-4400-851D-A6487384239A}" srcId="{3493180C-C257-4A32-9443-9B257A9A51E8}" destId="{A3D06D15-990C-462C-B4C0-C2368A054006}" srcOrd="0" destOrd="0" parTransId="{24CCFC74-8520-484E-9D9B-1344CA103932}" sibTransId="{64FC0340-C39E-4621-98E9-765FB87BEE6B}"/>
    <dgm:cxn modelId="{F6E8FDEB-C86C-4A0A-81B0-D1BD1A105764}" srcId="{4E63D4FE-7AAE-48BB-A0ED-710D59525F45}" destId="{15E82150-E1CD-4926-AC33-A124C04DF4C5}" srcOrd="0" destOrd="0" parTransId="{369B4D64-3E96-438C-8B2C-C83417407982}" sibTransId="{9037E126-F381-4872-A3C1-138DDC9503BC}"/>
    <dgm:cxn modelId="{A48512EC-57DC-4C46-AE25-A67DF27927E4}" srcId="{C5FDCAE3-F073-4BEC-97E5-C1B00F6CB50C}" destId="{564101DD-7A9F-409F-BC73-B0577E5D99C4}" srcOrd="0" destOrd="0" parTransId="{5DD08C45-B7E7-4301-9588-AEB26756C0A6}" sibTransId="{0CE170BE-CFB3-4AEE-AAF5-4A53EF9DB0E7}"/>
    <dgm:cxn modelId="{D56DBF7E-67BE-4560-B369-437DE8EC9A07}" type="presOf" srcId="{4E63D4FE-7AAE-48BB-A0ED-710D59525F45}" destId="{3CA67AEB-F96E-4E48-95A9-E5CCC2CD525C}" srcOrd="0" destOrd="0" presId="urn:microsoft.com/office/officeart/2005/8/layout/list1"/>
    <dgm:cxn modelId="{40A45B13-B738-4EC0-A6AE-4FC07910D854}" type="presOf" srcId="{3493180C-C257-4A32-9443-9B257A9A51E8}" destId="{05BB0DDC-0F9E-47EA-A027-2D3BD96A0DBA}" srcOrd="1" destOrd="0" presId="urn:microsoft.com/office/officeart/2005/8/layout/list1"/>
    <dgm:cxn modelId="{A5A8EF77-9E80-4F0C-A844-996A55376FA3}" type="presOf" srcId="{3493180C-C257-4A32-9443-9B257A9A51E8}" destId="{635F396B-A88C-4018-B1A4-D6881F364A05}" srcOrd="0" destOrd="0" presId="urn:microsoft.com/office/officeart/2005/8/layout/list1"/>
    <dgm:cxn modelId="{E42D0D19-AE93-463E-8EF7-EF64160E4DD4}" type="presOf" srcId="{C5FDCAE3-F073-4BEC-97E5-C1B00F6CB50C}" destId="{F4E4020F-197F-4470-85FB-E1FBE92F18BF}" srcOrd="0" destOrd="0" presId="urn:microsoft.com/office/officeart/2005/8/layout/list1"/>
    <dgm:cxn modelId="{A346C1C6-1C6F-4884-917C-091A9E177C04}" type="presOf" srcId="{A3D06D15-990C-462C-B4C0-C2368A054006}" destId="{A640872B-2376-44FE-AA69-8A0883A68682}" srcOrd="0" destOrd="0" presId="urn:microsoft.com/office/officeart/2005/8/layout/list1"/>
    <dgm:cxn modelId="{A748D505-F733-4D1C-9C91-3C327023A4D3}" type="presOf" srcId="{4E63D4FE-7AAE-48BB-A0ED-710D59525F45}" destId="{FFCF5D1E-4D99-4E79-9506-B6ECF47AE092}" srcOrd="1" destOrd="0" presId="urn:microsoft.com/office/officeart/2005/8/layout/list1"/>
    <dgm:cxn modelId="{190DC10D-C7CF-4C43-A156-FA21CC9972DC}" srcId="{AB139E82-0E96-4E4B-B743-836EECE73DCA}" destId="{4E63D4FE-7AAE-48BB-A0ED-710D59525F45}" srcOrd="1" destOrd="0" parTransId="{9D73CAD4-791C-48BF-B5BB-846D48651313}" sibTransId="{F2AC56E0-D51E-4422-8427-B7E3C90F9D4F}"/>
    <dgm:cxn modelId="{B45F9A4B-AC1B-47B5-ABC5-9300AC022A1C}" type="presOf" srcId="{15E82150-E1CD-4926-AC33-A124C04DF4C5}" destId="{1FF94A68-B47A-443E-B4B7-61071BC5DBB5}" srcOrd="0" destOrd="0" presId="urn:microsoft.com/office/officeart/2005/8/layout/list1"/>
    <dgm:cxn modelId="{9170D42B-92CA-4CB6-B887-11F8B37EBBA8}" type="presParOf" srcId="{251340C3-2AC9-4308-AFBE-AC8735102FD5}" destId="{6B525B2B-9980-4FC9-9D10-3B997AE7D833}" srcOrd="0" destOrd="0" presId="urn:microsoft.com/office/officeart/2005/8/layout/list1"/>
    <dgm:cxn modelId="{E88B75DD-6180-4C99-B26B-B5C278AD618F}" type="presParOf" srcId="{6B525B2B-9980-4FC9-9D10-3B997AE7D833}" destId="{635F396B-A88C-4018-B1A4-D6881F364A05}" srcOrd="0" destOrd="0" presId="urn:microsoft.com/office/officeart/2005/8/layout/list1"/>
    <dgm:cxn modelId="{FC9E31B3-7111-4302-AC3B-A2BBA564E904}" type="presParOf" srcId="{6B525B2B-9980-4FC9-9D10-3B997AE7D833}" destId="{05BB0DDC-0F9E-47EA-A027-2D3BD96A0DBA}" srcOrd="1" destOrd="0" presId="urn:microsoft.com/office/officeart/2005/8/layout/list1"/>
    <dgm:cxn modelId="{201FFB5E-ABFB-4CE8-9E0E-796E50EC401B}" type="presParOf" srcId="{251340C3-2AC9-4308-AFBE-AC8735102FD5}" destId="{4066DF88-47F2-43B2-9801-DD766360524C}" srcOrd="1" destOrd="0" presId="urn:microsoft.com/office/officeart/2005/8/layout/list1"/>
    <dgm:cxn modelId="{64EB2CAE-0C28-4588-9DA0-B23DCE073D21}" type="presParOf" srcId="{251340C3-2AC9-4308-AFBE-AC8735102FD5}" destId="{A640872B-2376-44FE-AA69-8A0883A68682}" srcOrd="2" destOrd="0" presId="urn:microsoft.com/office/officeart/2005/8/layout/list1"/>
    <dgm:cxn modelId="{9D2AB6EA-2D37-40D3-BB72-AA413B5BEBC1}" type="presParOf" srcId="{251340C3-2AC9-4308-AFBE-AC8735102FD5}" destId="{657082D9-A2FA-4EEB-A9F7-52C8B34ED794}" srcOrd="3" destOrd="0" presId="urn:microsoft.com/office/officeart/2005/8/layout/list1"/>
    <dgm:cxn modelId="{9E2E3A72-1F44-4403-BCA5-622D4543B839}" type="presParOf" srcId="{251340C3-2AC9-4308-AFBE-AC8735102FD5}" destId="{96826B2D-9E5C-4E06-9E30-988DB57ED335}" srcOrd="4" destOrd="0" presId="urn:microsoft.com/office/officeart/2005/8/layout/list1"/>
    <dgm:cxn modelId="{FC3D2BCD-5AAD-4BCB-AFFB-A27C208FF6C3}" type="presParOf" srcId="{96826B2D-9E5C-4E06-9E30-988DB57ED335}" destId="{3CA67AEB-F96E-4E48-95A9-E5CCC2CD525C}" srcOrd="0" destOrd="0" presId="urn:microsoft.com/office/officeart/2005/8/layout/list1"/>
    <dgm:cxn modelId="{A8473B05-54D7-423D-AD1F-A20259598FCE}" type="presParOf" srcId="{96826B2D-9E5C-4E06-9E30-988DB57ED335}" destId="{FFCF5D1E-4D99-4E79-9506-B6ECF47AE092}" srcOrd="1" destOrd="0" presId="urn:microsoft.com/office/officeart/2005/8/layout/list1"/>
    <dgm:cxn modelId="{3B642851-7AA0-4B24-9AC2-7A197BFD67FD}" type="presParOf" srcId="{251340C3-2AC9-4308-AFBE-AC8735102FD5}" destId="{35B157FF-55F3-4D94-981C-9EFA091EE6EA}" srcOrd="5" destOrd="0" presId="urn:microsoft.com/office/officeart/2005/8/layout/list1"/>
    <dgm:cxn modelId="{F3428B6B-B7BF-40A5-AB1F-FDFC0A937A87}" type="presParOf" srcId="{251340C3-2AC9-4308-AFBE-AC8735102FD5}" destId="{1FF94A68-B47A-443E-B4B7-61071BC5DBB5}" srcOrd="6" destOrd="0" presId="urn:microsoft.com/office/officeart/2005/8/layout/list1"/>
    <dgm:cxn modelId="{9CC37370-368B-4420-BF47-23A2AB4E8966}" type="presParOf" srcId="{251340C3-2AC9-4308-AFBE-AC8735102FD5}" destId="{A6FE3FF6-171E-4DAD-AE8D-3520D4CAD18D}" srcOrd="7" destOrd="0" presId="urn:microsoft.com/office/officeart/2005/8/layout/list1"/>
    <dgm:cxn modelId="{F1CB97A0-3261-499C-8EE6-0A82389CF01C}" type="presParOf" srcId="{251340C3-2AC9-4308-AFBE-AC8735102FD5}" destId="{EE40574C-3FE3-4267-8899-94F19F16634C}" srcOrd="8" destOrd="0" presId="urn:microsoft.com/office/officeart/2005/8/layout/list1"/>
    <dgm:cxn modelId="{3CA974B2-CB8F-4C2E-A9DC-26AB7087ED20}" type="presParOf" srcId="{EE40574C-3FE3-4267-8899-94F19F16634C}" destId="{F4E4020F-197F-4470-85FB-E1FBE92F18BF}" srcOrd="0" destOrd="0" presId="urn:microsoft.com/office/officeart/2005/8/layout/list1"/>
    <dgm:cxn modelId="{3BEF9ED6-27A8-48C5-A2AD-F0133B0BA93F}" type="presParOf" srcId="{EE40574C-3FE3-4267-8899-94F19F16634C}" destId="{700B3221-BEBF-4637-A0BF-60E282B54BE5}" srcOrd="1" destOrd="0" presId="urn:microsoft.com/office/officeart/2005/8/layout/list1"/>
    <dgm:cxn modelId="{962D0A80-4303-4F41-A148-1D693C3FD17D}" type="presParOf" srcId="{251340C3-2AC9-4308-AFBE-AC8735102FD5}" destId="{A5F394DF-EC52-425F-A75C-72D63B47266E}" srcOrd="9" destOrd="0" presId="urn:microsoft.com/office/officeart/2005/8/layout/list1"/>
    <dgm:cxn modelId="{A7C92D1C-7959-4E38-A66A-E6EBDD649154}" type="presParOf" srcId="{251340C3-2AC9-4308-AFBE-AC8735102FD5}" destId="{F6601127-57FB-4DD0-98B2-4C93211F2DB4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640872B-2376-44FE-AA69-8A0883A68682}">
      <dsp:nvSpPr>
        <dsp:cNvPr id="0" name=""/>
        <dsp:cNvSpPr/>
      </dsp:nvSpPr>
      <dsp:spPr>
        <a:xfrm>
          <a:off x="0" y="326602"/>
          <a:ext cx="8170983" cy="9009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34925" cap="flat" cmpd="sng" algn="in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4159" tIns="458216" rIns="634159" bIns="156464" numCol="1" spcCol="1270" anchor="t" anchorCtr="0">
          <a:noAutofit/>
        </a:bodyPr>
        <a:lstStyle/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200" kern="1200" dirty="0"/>
            <a:t>Describes the routes application supports</a:t>
          </a:r>
        </a:p>
      </dsp:txBody>
      <dsp:txXfrm>
        <a:off x="0" y="326602"/>
        <a:ext cx="8170983" cy="900900"/>
      </dsp:txXfrm>
    </dsp:sp>
    <dsp:sp modelId="{05BB0DDC-0F9E-47EA-A027-2D3BD96A0DBA}">
      <dsp:nvSpPr>
        <dsp:cNvPr id="0" name=""/>
        <dsp:cNvSpPr/>
      </dsp:nvSpPr>
      <dsp:spPr>
        <a:xfrm>
          <a:off x="408549" y="1882"/>
          <a:ext cx="5719688" cy="64944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34925" cap="flat" cmpd="sng" algn="in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6191" tIns="0" rIns="216191" bIns="0" numCol="1" spcCol="1270" anchor="ctr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/>
            <a:t>Routes</a:t>
          </a:r>
        </a:p>
      </dsp:txBody>
      <dsp:txXfrm>
        <a:off x="440252" y="33585"/>
        <a:ext cx="5656282" cy="586034"/>
      </dsp:txXfrm>
    </dsp:sp>
    <dsp:sp modelId="{1FF94A68-B47A-443E-B4B7-61071BC5DBB5}">
      <dsp:nvSpPr>
        <dsp:cNvPr id="0" name=""/>
        <dsp:cNvSpPr/>
      </dsp:nvSpPr>
      <dsp:spPr>
        <a:xfrm>
          <a:off x="0" y="1671022"/>
          <a:ext cx="8170983" cy="121275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34925" cap="flat" cmpd="sng" algn="in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4159" tIns="458216" rIns="634159" bIns="156464" numCol="1" spcCol="1270" anchor="t" anchorCtr="0">
          <a:noAutofit/>
        </a:bodyPr>
        <a:lstStyle/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200" kern="1200" dirty="0"/>
            <a:t>A “placeholder” component that gets expanded to each route’s content</a:t>
          </a:r>
        </a:p>
      </dsp:txBody>
      <dsp:txXfrm>
        <a:off x="0" y="1671022"/>
        <a:ext cx="8170983" cy="1212750"/>
      </dsp:txXfrm>
    </dsp:sp>
    <dsp:sp modelId="{FFCF5D1E-4D99-4E79-9506-B6ECF47AE092}">
      <dsp:nvSpPr>
        <dsp:cNvPr id="0" name=""/>
        <dsp:cNvSpPr/>
      </dsp:nvSpPr>
      <dsp:spPr>
        <a:xfrm>
          <a:off x="408549" y="1346302"/>
          <a:ext cx="5719688" cy="649440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34925" cap="flat" cmpd="sng" algn="in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6191" tIns="0" rIns="216191" bIns="0" numCol="1" spcCol="1270" anchor="ctr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err="1"/>
            <a:t>RouterOutlet</a:t>
          </a:r>
          <a:endParaRPr lang="en-US" sz="2200" kern="1200" dirty="0"/>
        </a:p>
      </dsp:txBody>
      <dsp:txXfrm>
        <a:off x="440252" y="1378005"/>
        <a:ext cx="5656282" cy="586034"/>
      </dsp:txXfrm>
    </dsp:sp>
    <dsp:sp modelId="{F6601127-57FB-4DD0-98B2-4C93211F2DB4}">
      <dsp:nvSpPr>
        <dsp:cNvPr id="0" name=""/>
        <dsp:cNvSpPr/>
      </dsp:nvSpPr>
      <dsp:spPr>
        <a:xfrm>
          <a:off x="0" y="3327293"/>
          <a:ext cx="8170983" cy="9009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34925" cap="flat" cmpd="sng" algn="in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4159" tIns="458216" rIns="634159" bIns="156464" numCol="1" spcCol="1270" anchor="t" anchorCtr="0">
          <a:noAutofit/>
        </a:bodyPr>
        <a:lstStyle/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200" kern="1200" dirty="0"/>
            <a:t>Directive is used to link to routes</a:t>
          </a:r>
        </a:p>
      </dsp:txBody>
      <dsp:txXfrm>
        <a:off x="0" y="3327293"/>
        <a:ext cx="8170983" cy="900900"/>
      </dsp:txXfrm>
    </dsp:sp>
    <dsp:sp modelId="{700B3221-BEBF-4637-A0BF-60E282B54BE5}">
      <dsp:nvSpPr>
        <dsp:cNvPr id="0" name=""/>
        <dsp:cNvSpPr/>
      </dsp:nvSpPr>
      <dsp:spPr>
        <a:xfrm>
          <a:off x="408549" y="3002573"/>
          <a:ext cx="5719688" cy="649440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34925" cap="flat" cmpd="sng" algn="in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6191" tIns="0" rIns="216191" bIns="0" numCol="1" spcCol="1270" anchor="ctr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err="1"/>
            <a:t>RouterLink</a:t>
          </a:r>
          <a:endParaRPr lang="en-US" sz="2200" kern="1200" dirty="0"/>
        </a:p>
      </dsp:txBody>
      <dsp:txXfrm>
        <a:off x="440252" y="3034276"/>
        <a:ext cx="5656282" cy="58603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822FDAF-FDFA-4D91-B7D5-B70BF0C2E93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5DF751A-81DC-4979-B134-0B9637883D7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B43168-3989-412F-9E82-24F6289D3BAA}" type="datetimeFigureOut">
              <a:rPr lang="en-IN" smtClean="0"/>
              <a:t>07-09-2020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14DB070-D618-4990-82A6-38791719CE4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C6DBBF4-D3BF-4DBC-BAFC-74C874CF680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0571A9E-F191-4484-BA21-68438700B38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8899755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B24BB93-324B-448F-83DE-379D3A550245}" type="datetimeFigureOut">
              <a:rPr lang="en-US" smtClean="0"/>
              <a:t>9/7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EF01D5-93D0-4CAB-8178-D27CE2280C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84970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8EF01D5-93D0-4CAB-8178-D27CE2280C1B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534414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5413" y="720725"/>
            <a:ext cx="64008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51198"/>
          </a:xfrm>
        </p:spPr>
        <p:txBody>
          <a:bodyPr>
            <a:normAutofit/>
          </a:bodyPr>
          <a:lstStyle/>
          <a:p>
            <a:pPr algn="just"/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74406602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5413" y="720725"/>
            <a:ext cx="64008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51198"/>
          </a:xfrm>
        </p:spPr>
        <p:txBody>
          <a:bodyPr>
            <a:normAutofit/>
          </a:bodyPr>
          <a:lstStyle/>
          <a:p>
            <a:pPr algn="just"/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40490875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5413" y="720725"/>
            <a:ext cx="64008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51198"/>
          </a:xfrm>
        </p:spPr>
        <p:txBody>
          <a:bodyPr>
            <a:normAutofit/>
          </a:bodyPr>
          <a:lstStyle/>
          <a:p>
            <a:pPr algn="just"/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224853543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5413" y="720725"/>
            <a:ext cx="64008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51198"/>
          </a:xfrm>
        </p:spPr>
        <p:txBody>
          <a:bodyPr>
            <a:normAutofit/>
          </a:bodyPr>
          <a:lstStyle/>
          <a:p>
            <a:pPr algn="just"/>
            <a:r>
              <a:rPr lang="en-US" b="1" dirty="0"/>
              <a:t>HTML5 client-side routing</a:t>
            </a:r>
          </a:p>
          <a:p>
            <a:pPr algn="just"/>
            <a:endParaRPr lang="en-US" b="1" dirty="0"/>
          </a:p>
          <a:p>
            <a:pPr algn="just"/>
            <a:r>
              <a:rPr lang="en-US" dirty="0"/>
              <a:t>With the introduction of HTML5, browsers acquired the ability to programmatically create new browser history entries that change the displayed URL without the need for a new request. This is achieved using the </a:t>
            </a:r>
            <a:r>
              <a:rPr lang="en-US" dirty="0" err="1"/>
              <a:t>history.pushState</a:t>
            </a:r>
            <a:r>
              <a:rPr lang="en-US" dirty="0"/>
              <a:t> method that exposes the browser’s navigational history to JavaScript. </a:t>
            </a:r>
          </a:p>
          <a:p>
            <a:pPr algn="just"/>
            <a:endParaRPr lang="en-US" dirty="0"/>
          </a:p>
          <a:p>
            <a:pPr algn="just"/>
            <a:r>
              <a:rPr lang="en-US" dirty="0"/>
              <a:t>So now, instead of relying on the anchor hack to navigate routes, modern frameworks can rely on </a:t>
            </a:r>
            <a:r>
              <a:rPr lang="en-US" dirty="0" err="1"/>
              <a:t>pushState</a:t>
            </a:r>
            <a:r>
              <a:rPr lang="en-US" dirty="0"/>
              <a:t> to perform history manipulation without reloads. </a:t>
            </a:r>
          </a:p>
          <a:p>
            <a:pPr algn="just"/>
            <a:endParaRPr lang="en-US" dirty="0"/>
          </a:p>
          <a:p>
            <a:pPr algn="just"/>
            <a:r>
              <a:rPr lang="en-US" dirty="0"/>
              <a:t>This way of routing already works in Angular 1, but it needs to be explicitly enabled using $locationProvider.html5Mode(true).</a:t>
            </a:r>
          </a:p>
          <a:p>
            <a:pPr algn="just"/>
            <a:endParaRPr lang="en-US" dirty="0"/>
          </a:p>
          <a:p>
            <a:pPr algn="just"/>
            <a:r>
              <a:rPr lang="en-US" dirty="0"/>
              <a:t>In Angular 2, the HTML5 is the default mode. </a:t>
            </a:r>
          </a:p>
          <a:p>
            <a:pPr algn="just"/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138067440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5413" y="720725"/>
            <a:ext cx="64008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51198"/>
          </a:xfrm>
        </p:spPr>
        <p:txBody>
          <a:bodyPr>
            <a:normAutofit/>
          </a:bodyPr>
          <a:lstStyle/>
          <a:p>
            <a:pPr algn="just"/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295138873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5413" y="720725"/>
            <a:ext cx="64008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51198"/>
          </a:xfrm>
        </p:spPr>
        <p:txBody>
          <a:bodyPr>
            <a:normAutofit/>
          </a:bodyPr>
          <a:lstStyle/>
          <a:p>
            <a:pPr algn="just"/>
            <a:r>
              <a:rPr lang="en-US" dirty="0"/>
              <a:t>Notice that </a:t>
            </a:r>
            <a:r>
              <a:rPr lang="en-US" dirty="0" err="1"/>
              <a:t>route.params</a:t>
            </a:r>
            <a:r>
              <a:rPr lang="en-US" dirty="0"/>
              <a:t> is an observable. We can extract the value of the </a:t>
            </a:r>
            <a:r>
              <a:rPr lang="en-US" dirty="0" err="1"/>
              <a:t>param</a:t>
            </a:r>
            <a:r>
              <a:rPr lang="en-US" dirty="0"/>
              <a:t> into a hard value by using .subscribe.</a:t>
            </a:r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277869279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5413" y="720725"/>
            <a:ext cx="64008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966612">
              <a:defRPr/>
            </a:pPr>
            <a:r>
              <a:rPr lang="en-US" dirty="0"/>
              <a:t>Add the notes here.</a:t>
            </a:r>
            <a:endParaRPr lang="en-US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9262062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5413" y="720725"/>
            <a:ext cx="64008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51198"/>
          </a:xfrm>
        </p:spPr>
        <p:txBody>
          <a:bodyPr>
            <a:normAutofit/>
          </a:bodyPr>
          <a:lstStyle/>
          <a:p>
            <a:r>
              <a:rPr lang="en-US" dirty="0"/>
              <a:t>The browser is a familiar model of application navigation:</a:t>
            </a:r>
          </a:p>
          <a:p>
            <a:r>
              <a:rPr lang="en-US" dirty="0"/>
              <a:t>Enter a URL in the address bar and the browser navigates to a corresponding page.</a:t>
            </a:r>
          </a:p>
          <a:p>
            <a:r>
              <a:rPr lang="en-US" dirty="0"/>
              <a:t>Click links on the page and the browser navigates to a new page.</a:t>
            </a:r>
          </a:p>
          <a:p>
            <a:r>
              <a:rPr lang="en-US" dirty="0"/>
              <a:t>Click the browser's back and forward buttons and the browser navigates backward and forward through the history of pages you've seen.</a:t>
            </a:r>
          </a:p>
          <a:p>
            <a:pPr algn="just"/>
            <a:r>
              <a:rPr lang="en-US" dirty="0"/>
              <a:t>The Angular Router ("the router") borrows from this model. It can interpret a browser URL as an instruction to navigate to a client-generated view. It can pass optional parameters along to the supporting view component that help it decide what specific content to present. </a:t>
            </a:r>
          </a:p>
          <a:p>
            <a:pPr algn="just"/>
            <a:r>
              <a:rPr lang="en-US" dirty="0"/>
              <a:t>import { </a:t>
            </a:r>
            <a:r>
              <a:rPr lang="en-US" dirty="0" err="1"/>
              <a:t>RouterModule</a:t>
            </a:r>
            <a:r>
              <a:rPr lang="en-US" dirty="0"/>
              <a:t>, Routes } from '@angular/router';</a:t>
            </a:r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185338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5413" y="720725"/>
            <a:ext cx="64008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51198"/>
          </a:xfrm>
        </p:spPr>
        <p:txBody>
          <a:bodyPr>
            <a:normAutofit/>
          </a:bodyPr>
          <a:lstStyle/>
          <a:p>
            <a:pPr algn="just"/>
            <a:r>
              <a:rPr lang="en-US" dirty="0"/>
              <a:t>import { </a:t>
            </a:r>
            <a:r>
              <a:rPr lang="en-US" dirty="0" err="1"/>
              <a:t>RouterModule</a:t>
            </a:r>
            <a:r>
              <a:rPr lang="en-US" dirty="0"/>
              <a:t>, Routes } from '@angular/router';</a:t>
            </a:r>
          </a:p>
          <a:p>
            <a:pPr algn="just"/>
            <a:r>
              <a:rPr lang="en-US" dirty="0"/>
              <a:t>A router has no routes until you configure it. The following example creates four route definitions, configures the router via the </a:t>
            </a:r>
            <a:r>
              <a:rPr lang="en-US" dirty="0" err="1"/>
              <a:t>RouterModule.forRoot</a:t>
            </a:r>
            <a:r>
              <a:rPr lang="en-US" dirty="0"/>
              <a:t> method, and adds the result to the </a:t>
            </a:r>
            <a:r>
              <a:rPr lang="en-US" dirty="0" err="1"/>
              <a:t>AppModule's</a:t>
            </a:r>
            <a:r>
              <a:rPr lang="en-US" dirty="0"/>
              <a:t> imports array.</a:t>
            </a:r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16902882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5413" y="720725"/>
            <a:ext cx="64008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51198"/>
          </a:xfrm>
        </p:spPr>
        <p:txBody>
          <a:bodyPr>
            <a:normAutofit/>
          </a:bodyPr>
          <a:lstStyle/>
          <a:p>
            <a:pPr algn="just"/>
            <a:r>
              <a:rPr lang="en-US" dirty="0"/>
              <a:t>A router has no routes until you configure it. The following example creates four route definitions, configures the router via the </a:t>
            </a:r>
            <a:r>
              <a:rPr lang="en-US" dirty="0" err="1"/>
              <a:t>RouterModule.forRoot</a:t>
            </a:r>
            <a:r>
              <a:rPr lang="en-US" dirty="0"/>
              <a:t> method, and adds the result to the </a:t>
            </a:r>
            <a:r>
              <a:rPr lang="en-US" dirty="0" err="1"/>
              <a:t>AppModule's</a:t>
            </a:r>
            <a:r>
              <a:rPr lang="en-US" dirty="0"/>
              <a:t> imports array.</a:t>
            </a:r>
          </a:p>
          <a:p>
            <a:r>
              <a:rPr lang="en-US" dirty="0"/>
              <a:t>The </a:t>
            </a:r>
            <a:r>
              <a:rPr lang="en-US" dirty="0" err="1"/>
              <a:t>appRoutes</a:t>
            </a:r>
            <a:r>
              <a:rPr lang="en-US" dirty="0"/>
              <a:t> array of </a:t>
            </a:r>
            <a:r>
              <a:rPr lang="en-US" i="1" dirty="0"/>
              <a:t>routes</a:t>
            </a:r>
            <a:r>
              <a:rPr lang="en-US" dirty="0"/>
              <a:t> describes how to navigate. Pass it to the </a:t>
            </a:r>
            <a:r>
              <a:rPr lang="en-US" dirty="0" err="1"/>
              <a:t>RouterModule.forRoot</a:t>
            </a:r>
            <a:r>
              <a:rPr lang="en-US" dirty="0"/>
              <a:t> method in the module imports to configure the router.</a:t>
            </a:r>
          </a:p>
          <a:p>
            <a:r>
              <a:rPr lang="en-US" dirty="0"/>
              <a:t>Each Route maps a URL path to a component. There are </a:t>
            </a:r>
            <a:r>
              <a:rPr lang="en-US" i="1" dirty="0"/>
              <a:t>no leading slashes</a:t>
            </a:r>
            <a:r>
              <a:rPr lang="en-US" dirty="0"/>
              <a:t> in the </a:t>
            </a:r>
            <a:r>
              <a:rPr lang="en-US" i="1" dirty="0"/>
              <a:t>path</a:t>
            </a:r>
            <a:r>
              <a:rPr lang="en-US" dirty="0"/>
              <a:t>. The router parses and builds the final URL for you, allowing you to use both relative and absolute paths when navigating between application views</a:t>
            </a:r>
          </a:p>
          <a:p>
            <a:pPr algn="just"/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83270462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5413" y="720725"/>
            <a:ext cx="64008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51198"/>
          </a:xfrm>
        </p:spPr>
        <p:txBody>
          <a:bodyPr>
            <a:normAutofit lnSpcReduction="10000"/>
          </a:bodyPr>
          <a:lstStyle/>
          <a:p>
            <a:pPr algn="just"/>
            <a:r>
              <a:rPr lang="en-US" b="1" dirty="0"/>
              <a:t>Basic Routing Steps</a:t>
            </a:r>
          </a:p>
          <a:p>
            <a:pPr algn="just"/>
            <a:endParaRPr lang="en-US" b="1" dirty="0"/>
          </a:p>
          <a:p>
            <a:pPr algn="just"/>
            <a:r>
              <a:rPr lang="en-US" b="1" dirty="0"/>
              <a:t>Set &lt;base </a:t>
            </a:r>
            <a:r>
              <a:rPr lang="en-US" b="1" dirty="0" err="1"/>
              <a:t>href</a:t>
            </a:r>
            <a:r>
              <a:rPr lang="en-US" b="1" dirty="0"/>
              <a:t>=“/”&gt; tag</a:t>
            </a:r>
          </a:p>
          <a:p>
            <a:pPr algn="just"/>
            <a:r>
              <a:rPr lang="en-US" b="1" dirty="0"/>
              <a:t>Use the </a:t>
            </a:r>
            <a:r>
              <a:rPr lang="en-US" b="1" dirty="0" err="1"/>
              <a:t>RouterConfig</a:t>
            </a:r>
            <a:r>
              <a:rPr lang="en-US" b="1" dirty="0"/>
              <a:t> on the root component</a:t>
            </a:r>
          </a:p>
          <a:p>
            <a:pPr algn="just"/>
            <a:r>
              <a:rPr lang="en-US" b="1" dirty="0"/>
              <a:t>Use the </a:t>
            </a:r>
            <a:r>
              <a:rPr lang="en-US" b="1" dirty="0" err="1"/>
              <a:t>RouterOutlet</a:t>
            </a:r>
            <a:r>
              <a:rPr lang="en-US" b="1" dirty="0"/>
              <a:t> Component as placeholder</a:t>
            </a:r>
          </a:p>
          <a:p>
            <a:pPr algn="just"/>
            <a:r>
              <a:rPr lang="en-US" b="1" dirty="0"/>
              <a:t>Use the </a:t>
            </a:r>
            <a:r>
              <a:rPr lang="en-US" b="1" dirty="0" err="1"/>
              <a:t>RouterLink</a:t>
            </a:r>
            <a:r>
              <a:rPr lang="en-US" b="1" dirty="0"/>
              <a:t> directive for Link</a:t>
            </a:r>
          </a:p>
          <a:p>
            <a:r>
              <a:rPr lang="en-US" b="1" dirty="0"/>
              <a:t>Router outlet</a:t>
            </a:r>
          </a:p>
          <a:p>
            <a:r>
              <a:rPr lang="en-US" dirty="0"/>
              <a:t>Given this configuration, when the browser URL for this application becomes /heroes, the router matches that URL to the route path /heroes and displays the </a:t>
            </a:r>
            <a:r>
              <a:rPr lang="en-US" dirty="0" err="1"/>
              <a:t>HeroListComponent</a:t>
            </a:r>
            <a:r>
              <a:rPr lang="en-US" dirty="0"/>
              <a:t> </a:t>
            </a:r>
            <a:r>
              <a:rPr lang="en-US" i="1" dirty="0"/>
              <a:t>after</a:t>
            </a:r>
            <a:r>
              <a:rPr lang="en-US" dirty="0"/>
              <a:t> a </a:t>
            </a:r>
            <a:r>
              <a:rPr lang="en-US" dirty="0" err="1"/>
              <a:t>RouterOutlet</a:t>
            </a:r>
            <a:r>
              <a:rPr lang="en-US" dirty="0"/>
              <a:t> that you've placed in the host view's HTML.</a:t>
            </a:r>
          </a:p>
          <a:p>
            <a:r>
              <a:rPr lang="en-US" dirty="0"/>
              <a:t>COPY CODE&lt;router-outlet&gt;&lt;/router-outlet&gt; &lt;!-- Routed views go here --&gt;</a:t>
            </a:r>
          </a:p>
          <a:p>
            <a:r>
              <a:rPr lang="en-US" b="1" dirty="0"/>
              <a:t>Router links</a:t>
            </a:r>
          </a:p>
          <a:p>
            <a:r>
              <a:rPr lang="en-US" dirty="0"/>
              <a:t>Now you have routes configured and a place to render them, but how do you navigate? The URL could arrive directly from the browser address bar.</a:t>
            </a:r>
          </a:p>
          <a:p>
            <a:r>
              <a:rPr lang="en-US" dirty="0"/>
              <a:t>The </a:t>
            </a:r>
            <a:r>
              <a:rPr lang="en-US" dirty="0" err="1"/>
              <a:t>RouterLink</a:t>
            </a:r>
            <a:r>
              <a:rPr lang="en-US" dirty="0"/>
              <a:t> directives on the anchor tags give the router control over those elements. The navigation paths are fixed, so you can assign a string to the </a:t>
            </a:r>
            <a:r>
              <a:rPr lang="en-US" dirty="0" err="1"/>
              <a:t>routerLink</a:t>
            </a:r>
            <a:r>
              <a:rPr lang="en-US" dirty="0"/>
              <a:t> (a "one-time" binding).</a:t>
            </a:r>
          </a:p>
          <a:p>
            <a:r>
              <a:rPr lang="en-US" dirty="0"/>
              <a:t>Had the navigation path been more dynamic, you could have bound to a template expression that returned an array of route link parameters (the </a:t>
            </a:r>
            <a:r>
              <a:rPr lang="en-US" i="1" dirty="0"/>
              <a:t>link parameters array</a:t>
            </a:r>
            <a:r>
              <a:rPr lang="en-US" dirty="0"/>
              <a:t>). The router resolves that array into a complete URL.</a:t>
            </a:r>
          </a:p>
          <a:p>
            <a:r>
              <a:rPr lang="en-US" dirty="0"/>
              <a:t>The </a:t>
            </a:r>
            <a:r>
              <a:rPr lang="en-US" b="1" dirty="0" err="1"/>
              <a:t>RouterLinkActive</a:t>
            </a:r>
            <a:r>
              <a:rPr lang="en-US" dirty="0"/>
              <a:t> directive on each anchor tag helps visually distinguish the anchor for the currently selected "active" route. The router adds the active CSS class to the element when the associated </a:t>
            </a:r>
            <a:r>
              <a:rPr lang="en-US" i="1" dirty="0" err="1"/>
              <a:t>RouterLink</a:t>
            </a:r>
            <a:r>
              <a:rPr lang="en-US" dirty="0"/>
              <a:t> becomes active. You can add this directive to the anchor or to its parent element.</a:t>
            </a:r>
          </a:p>
          <a:p>
            <a:pPr algn="just"/>
            <a:endParaRPr lang="en-US" b="1" dirty="0"/>
          </a:p>
          <a:p>
            <a:pPr algn="just"/>
            <a:endParaRPr lang="en-US" b="1" dirty="0"/>
          </a:p>
          <a:p>
            <a:pPr algn="just"/>
            <a:endParaRPr lang="en-US" b="1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61598906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109368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327523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536352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5413" y="720725"/>
            <a:ext cx="64008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51198"/>
          </a:xfrm>
        </p:spPr>
        <p:txBody>
          <a:bodyPr>
            <a:normAutofit/>
          </a:bodyPr>
          <a:lstStyle/>
          <a:p>
            <a:pPr algn="just"/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27881812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7.emf"/><Relationship Id="rId2" Type="http://schemas.openxmlformats.org/officeDocument/2006/relationships/tags" Target="../tags/tag4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84260" y="1192192"/>
            <a:ext cx="5718424" cy="2804929"/>
          </a:xfrm>
        </p:spPr>
        <p:txBody>
          <a:bodyPr anchor="b">
            <a:noAutofit/>
          </a:bodyPr>
          <a:lstStyle>
            <a:lvl1pPr algn="l">
              <a:defRPr sz="6600" b="1" cap="all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84259" y="4066720"/>
            <a:ext cx="7596451" cy="1086237"/>
          </a:xfrm>
        </p:spPr>
        <p:txBody>
          <a:bodyPr>
            <a:normAutofit/>
          </a:bodyPr>
          <a:lstStyle>
            <a:lvl1pPr marL="0" indent="0" algn="l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None/>
              <a:defRPr sz="23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52858" y="6453386"/>
            <a:ext cx="1607944" cy="404614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fld id="{87DE6118-2437-4B30-8E3C-4D2BE6020583}" type="datetimeFigureOut">
              <a:rPr lang="en-US" dirty="0"/>
              <a:pPr/>
              <a:t>9/7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584054" y="6453386"/>
            <a:ext cx="7023377" cy="404614"/>
          </a:xfrm>
        </p:spPr>
        <p:txBody>
          <a:bodyPr/>
          <a:lstStyle>
            <a:lvl1pPr algn="ctr">
              <a:defRPr baseline="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830683" y="6453386"/>
            <a:ext cx="1596292" cy="404614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fld id="{69E57DC2-970A-4B3E-BB1C-7A09969E49DF}" type="slidenum">
              <a:rPr lang="en-US" dirty="0"/>
              <a:pPr/>
              <a:t>‹#›</a:t>
            </a:fld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752858" y="744469"/>
            <a:ext cx="10674117" cy="5349671"/>
            <a:chOff x="752858" y="744469"/>
            <a:chExt cx="10674117" cy="5349671"/>
          </a:xfrm>
        </p:grpSpPr>
        <p:sp>
          <p:nvSpPr>
            <p:cNvPr id="11" name="Freeform 6"/>
            <p:cNvSpPr/>
            <p:nvPr/>
          </p:nvSpPr>
          <p:spPr bwMode="auto">
            <a:xfrm>
              <a:off x="8151962" y="1685652"/>
              <a:ext cx="3275013" cy="4408488"/>
            </a:xfrm>
            <a:custGeom>
              <a:avLst/>
              <a:gdLst/>
              <a:ahLst/>
              <a:cxnLst/>
              <a:rect l="l" t="t" r="r" b="b"/>
              <a:pathLst>
                <a:path w="10000" h="10000">
                  <a:moveTo>
                    <a:pt x="8761" y="0"/>
                  </a:moveTo>
                  <a:lnTo>
                    <a:pt x="10000" y="0"/>
                  </a:lnTo>
                  <a:lnTo>
                    <a:pt x="10000" y="10000"/>
                  </a:lnTo>
                  <a:lnTo>
                    <a:pt x="0" y="10000"/>
                  </a:lnTo>
                  <a:lnTo>
                    <a:pt x="0" y="9126"/>
                  </a:lnTo>
                  <a:lnTo>
                    <a:pt x="8761" y="9127"/>
                  </a:lnTo>
                  <a:lnTo>
                    <a:pt x="8761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</p:sp>
        <p:sp>
          <p:nvSpPr>
            <p:cNvPr id="14" name="Freeform 6"/>
            <p:cNvSpPr/>
            <p:nvPr/>
          </p:nvSpPr>
          <p:spPr bwMode="auto">
            <a:xfrm flipH="1" flipV="1">
              <a:off x="752858" y="744469"/>
              <a:ext cx="3275668" cy="4408488"/>
            </a:xfrm>
            <a:custGeom>
              <a:avLst/>
              <a:gdLst/>
              <a:ahLst/>
              <a:cxnLst/>
              <a:rect l="l" t="t" r="r" b="b"/>
              <a:pathLst>
                <a:path w="10002" h="10000">
                  <a:moveTo>
                    <a:pt x="8763" y="0"/>
                  </a:moveTo>
                  <a:lnTo>
                    <a:pt x="10002" y="0"/>
                  </a:lnTo>
                  <a:lnTo>
                    <a:pt x="10002" y="10000"/>
                  </a:lnTo>
                  <a:lnTo>
                    <a:pt x="2" y="10000"/>
                  </a:lnTo>
                  <a:cubicBezTo>
                    <a:pt x="-2" y="9698"/>
                    <a:pt x="4" y="9427"/>
                    <a:pt x="0" y="9125"/>
                  </a:cubicBezTo>
                  <a:lnTo>
                    <a:pt x="8763" y="9128"/>
                  </a:lnTo>
                  <a:lnTo>
                    <a:pt x="8763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</p:sp>
      </p:grp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06874" y="79334"/>
            <a:ext cx="4620101" cy="6014806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371600" y="2295525"/>
            <a:ext cx="9601200" cy="3571875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E6118-2437-4B30-8E3C-4D2BE6020583}" type="datetimeFigureOut">
              <a:rPr lang="en-US" dirty="0"/>
              <a:t>9/7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57DC2-970A-4B3E-BB1C-7A09969E49DF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596561" y="624156"/>
            <a:ext cx="1565766" cy="5243244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371600" y="624156"/>
            <a:ext cx="8179641" cy="5243244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E6118-2437-4B30-8E3C-4D2BE6020583}" type="datetimeFigureOut">
              <a:rPr lang="en-US" dirty="0"/>
              <a:t>9/7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57DC2-970A-4B3E-BB1C-7A09969E49DF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398021" y="1494767"/>
            <a:ext cx="9058352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6373" y="1828800"/>
            <a:ext cx="2670923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635872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udi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398021" y="1494767"/>
            <a:ext cx="923365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31680" y="1828800"/>
            <a:ext cx="2438400" cy="242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852861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398021" y="1494767"/>
            <a:ext cx="93463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4000" y="1828800"/>
            <a:ext cx="3048000" cy="1539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784455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4"/>
          <a:ext cx="18099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4"/>
                        <a:ext cx="18099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98021" y="1494769"/>
            <a:ext cx="11385992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93967079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398024" y="1494769"/>
            <a:ext cx="8866331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60363" y="1828800"/>
            <a:ext cx="280416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>
            <a:extLst>
              <a:ext uri="{FF2B5EF4-FFF2-40B4-BE49-F238E27FC236}">
                <a16:creationId xmlns:a16="http://schemas.microsoft.com/office/drawing/2014/main" id="{BD2395BC-8BC9-4091-B524-0E19CBD6AF1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60363" y="1828800"/>
            <a:ext cx="280416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730675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71600" y="685800"/>
            <a:ext cx="9601200" cy="84406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71600" y="1740877"/>
            <a:ext cx="9601200" cy="412652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E6118-2437-4B30-8E3C-4D2BE6020583}" type="datetimeFigureOut">
              <a:rPr lang="en-US" dirty="0"/>
              <a:t>9/7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57DC2-970A-4B3E-BB1C-7A09969E49DF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E94103CC-22C5-4F38-9B77-3524E8A553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r="23077" b="19676"/>
          <a:stretch/>
        </p:blipFill>
        <p:spPr>
          <a:xfrm rot="5400000" flipH="1">
            <a:off x="-79029" y="79030"/>
            <a:ext cx="6857997" cy="669993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5025" y="1301360"/>
            <a:ext cx="9612971" cy="2852737"/>
          </a:xfrm>
        </p:spPr>
        <p:txBody>
          <a:bodyPr anchor="b">
            <a:normAutofit/>
          </a:bodyPr>
          <a:lstStyle>
            <a:lvl1pPr algn="r">
              <a:defRPr sz="7200" b="1" cap="all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65025" y="4216328"/>
            <a:ext cx="9612971" cy="1143324"/>
          </a:xfrm>
        </p:spPr>
        <p:txBody>
          <a:bodyPr/>
          <a:lstStyle>
            <a:lvl1pPr marL="0" indent="0" algn="r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8908" y="6453386"/>
            <a:ext cx="1622409" cy="4046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87DE6118-2437-4B30-8E3C-4D2BE6020583}" type="datetimeFigureOut">
              <a:rPr lang="en-US" dirty="0"/>
              <a:pPr/>
              <a:t>9/7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584312" y="6453386"/>
            <a:ext cx="7023377" cy="404614"/>
          </a:xfrm>
        </p:spPr>
        <p:txBody>
          <a:bodyPr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830683" y="6453386"/>
            <a:ext cx="1596292" cy="4046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69E57DC2-970A-4B3E-BB1C-7A09969E49DF}" type="slidenum">
              <a:rPr lang="en-US" dirty="0"/>
              <a:pPr/>
              <a:t>‹#›</a:t>
            </a:fld>
            <a:endParaRPr lang="en-US" dirty="0"/>
          </a:p>
        </p:txBody>
      </p:sp>
      <p:sp>
        <p:nvSpPr>
          <p:cNvPr id="7" name="Freeform 6" title="Crop Mark"/>
          <p:cNvSpPr/>
          <p:nvPr/>
        </p:nvSpPr>
        <p:spPr bwMode="auto">
          <a:xfrm>
            <a:off x="8151962" y="1685652"/>
            <a:ext cx="3275013" cy="4408488"/>
          </a:xfrm>
          <a:custGeom>
            <a:avLst/>
            <a:gdLst/>
            <a:ahLst/>
            <a:cxnLst/>
            <a:rect l="0" t="0" r="r" b="b"/>
            <a:pathLst>
              <a:path w="4125" h="5554">
                <a:moveTo>
                  <a:pt x="3614" y="0"/>
                </a:moveTo>
                <a:lnTo>
                  <a:pt x="4125" y="0"/>
                </a:lnTo>
                <a:lnTo>
                  <a:pt x="4125" y="5554"/>
                </a:lnTo>
                <a:lnTo>
                  <a:pt x="0" y="5554"/>
                </a:lnTo>
                <a:lnTo>
                  <a:pt x="0" y="5074"/>
                </a:lnTo>
                <a:lnTo>
                  <a:pt x="3614" y="5074"/>
                </a:lnTo>
                <a:lnTo>
                  <a:pt x="3614" y="0"/>
                </a:lnTo>
                <a:close/>
              </a:path>
            </a:pathLst>
          </a:custGeom>
          <a:solidFill>
            <a:srgbClr val="FF304C"/>
          </a:solidFill>
          <a:ln w="0">
            <a:noFill/>
            <a:prstDash val="solid"/>
            <a:round/>
            <a:headEnd/>
            <a:tailEnd/>
          </a:ln>
        </p:spPr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371600" y="2285999"/>
            <a:ext cx="4447786" cy="3581401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  <a:lvl2pPr>
              <a:defRPr baseline="0">
                <a:solidFill>
                  <a:schemeClr val="tx2"/>
                </a:solidFill>
              </a:defRPr>
            </a:lvl2pPr>
            <a:lvl3pPr>
              <a:defRPr baseline="0">
                <a:solidFill>
                  <a:schemeClr val="tx2"/>
                </a:solidFill>
              </a:defRPr>
            </a:lvl3pPr>
            <a:lvl4pPr>
              <a:defRPr baseline="0">
                <a:solidFill>
                  <a:schemeClr val="tx2"/>
                </a:solidFill>
              </a:defRPr>
            </a:lvl4pPr>
            <a:lvl5pPr>
              <a:defRPr baseline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525403" y="2285999"/>
            <a:ext cx="4447786" cy="358140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E6118-2437-4B30-8E3C-4D2BE6020583}" type="datetimeFigureOut">
              <a:rPr lang="en-US" dirty="0"/>
              <a:t>9/7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57DC2-970A-4B3E-BB1C-7A09969E49DF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71600" y="685800"/>
            <a:ext cx="9601200" cy="14859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71600" y="2340864"/>
            <a:ext cx="4443984" cy="823912"/>
          </a:xfrm>
        </p:spPr>
        <p:txBody>
          <a:bodyPr anchor="b">
            <a:noAutofit/>
          </a:bodyPr>
          <a:lstStyle>
            <a:lvl1pPr marL="0" indent="0">
              <a:lnSpc>
                <a:spcPct val="84000"/>
              </a:lnSpc>
              <a:spcBef>
                <a:spcPts val="0"/>
              </a:spcBef>
              <a:spcAft>
                <a:spcPts val="0"/>
              </a:spcAft>
              <a:buNone/>
              <a:defRPr sz="3000" b="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371600" y="3305207"/>
            <a:ext cx="4443984" cy="2562193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  <a:lvl2pPr>
              <a:defRPr baseline="0">
                <a:solidFill>
                  <a:schemeClr val="tx2"/>
                </a:solidFill>
              </a:defRPr>
            </a:lvl2pPr>
            <a:lvl3pPr>
              <a:defRPr baseline="0">
                <a:solidFill>
                  <a:schemeClr val="tx2"/>
                </a:solidFill>
              </a:defRPr>
            </a:lvl3pPr>
            <a:lvl4pPr>
              <a:defRPr baseline="0">
                <a:solidFill>
                  <a:schemeClr val="tx2"/>
                </a:solidFill>
              </a:defRPr>
            </a:lvl4pPr>
            <a:lvl5pPr>
              <a:defRPr baseline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525014" y="2340864"/>
            <a:ext cx="4443984" cy="823912"/>
          </a:xfrm>
        </p:spPr>
        <p:txBody>
          <a:bodyPr anchor="b">
            <a:noAutofit/>
          </a:bodyPr>
          <a:lstStyle>
            <a:lvl1pPr marL="0" indent="0">
              <a:lnSpc>
                <a:spcPct val="84000"/>
              </a:lnSpc>
              <a:spcBef>
                <a:spcPts val="0"/>
              </a:spcBef>
              <a:spcAft>
                <a:spcPts val="0"/>
              </a:spcAft>
              <a:buNone/>
              <a:defRPr sz="3000" b="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525014" y="3305207"/>
            <a:ext cx="4443984" cy="2562193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  <a:lvl2pPr>
              <a:defRPr baseline="0">
                <a:solidFill>
                  <a:schemeClr val="tx2"/>
                </a:solidFill>
              </a:defRPr>
            </a:lvl2pPr>
            <a:lvl3pPr>
              <a:defRPr baseline="0">
                <a:solidFill>
                  <a:schemeClr val="tx2"/>
                </a:solidFill>
              </a:defRPr>
            </a:lvl3pPr>
            <a:lvl4pPr>
              <a:defRPr baseline="0">
                <a:solidFill>
                  <a:schemeClr val="tx2"/>
                </a:solidFill>
              </a:defRPr>
            </a:lvl4pPr>
            <a:lvl5pPr>
              <a:defRPr baseline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E6118-2437-4B30-8E3C-4D2BE6020583}" type="datetimeFigureOut">
              <a:rPr lang="en-US" dirty="0"/>
              <a:t>9/7/2020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57DC2-970A-4B3E-BB1C-7A09969E49DF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E6118-2437-4B30-8E3C-4D2BE6020583}" type="datetimeFigureOut">
              <a:rPr lang="en-US" dirty="0"/>
              <a:t>9/7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57DC2-970A-4B3E-BB1C-7A09969E49DF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E6118-2437-4B30-8E3C-4D2BE6020583}" type="datetimeFigureOut">
              <a:rPr lang="en-US" dirty="0"/>
              <a:t>9/7/2020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57DC2-970A-4B3E-BB1C-7A09969E49DF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 title="Background Shape"/>
          <p:cNvSpPr/>
          <p:nvPr/>
        </p:nvSpPr>
        <p:spPr>
          <a:xfrm>
            <a:off x="0" y="376"/>
            <a:ext cx="5303520" cy="685762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3900" y="685800"/>
            <a:ext cx="3855720" cy="2157884"/>
          </a:xfrm>
        </p:spPr>
        <p:txBody>
          <a:bodyPr anchor="t">
            <a:noAutofit/>
          </a:bodyPr>
          <a:lstStyle>
            <a:lvl1pPr>
              <a:lnSpc>
                <a:spcPct val="84000"/>
              </a:lnSpc>
              <a:defRPr sz="4800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56020" y="685801"/>
            <a:ext cx="5212080" cy="517525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23900" y="2856344"/>
            <a:ext cx="3855720" cy="3011056"/>
          </a:xfrm>
        </p:spPr>
        <p:txBody>
          <a:bodyPr/>
          <a:lstStyle>
            <a:lvl1pPr marL="0" indent="0">
              <a:lnSpc>
                <a:spcPct val="113000"/>
              </a:lnSpc>
              <a:spcBef>
                <a:spcPts val="0"/>
              </a:spcBef>
              <a:spcAft>
                <a:spcPts val="1500"/>
              </a:spcAft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23900" y="6453386"/>
            <a:ext cx="1204572" cy="4046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87DE6118-2437-4B30-8E3C-4D2BE6020583}" type="datetimeFigureOut">
              <a:rPr lang="en-US" dirty="0"/>
              <a:pPr/>
              <a:t>9/7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205945" y="6453386"/>
            <a:ext cx="2373675" cy="4046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9883140" y="6453386"/>
            <a:ext cx="1596292" cy="4046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69E57DC2-970A-4B3E-BB1C-7A09969E49DF}" type="slidenum">
              <a:rPr lang="en-US" dirty="0"/>
              <a:pPr/>
              <a:t>‹#›</a:t>
            </a:fld>
            <a:endParaRPr lang="en-US" dirty="0"/>
          </a:p>
        </p:txBody>
      </p:sp>
      <p:sp>
        <p:nvSpPr>
          <p:cNvPr id="9" name="Rectangle 8" title="Divider Bar"/>
          <p:cNvSpPr/>
          <p:nvPr/>
        </p:nvSpPr>
        <p:spPr>
          <a:xfrm>
            <a:off x="5303520" y="376"/>
            <a:ext cx="2286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3900" y="685800"/>
            <a:ext cx="3855720" cy="2157884"/>
          </a:xfrm>
        </p:spPr>
        <p:txBody>
          <a:bodyPr anchor="t">
            <a:normAutofit/>
          </a:bodyPr>
          <a:lstStyle>
            <a:lvl1pPr>
              <a:lnSpc>
                <a:spcPct val="84000"/>
              </a:lnSpc>
              <a:defRPr sz="4800" b="1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532120" y="0"/>
            <a:ext cx="6659880" cy="6857999"/>
          </a:xfrm>
        </p:spPr>
        <p:txBody>
          <a:bodyPr anchor="t">
            <a:normAutofit/>
          </a:bodyPr>
          <a:lstStyle>
            <a:lvl1pPr marL="0" indent="0">
              <a:buNone/>
              <a:defRPr sz="2000"/>
            </a:lvl1pPr>
            <a:lvl2pPr marL="457200" indent="0">
              <a:buNone/>
              <a:defRPr sz="2000"/>
            </a:lvl2pPr>
            <a:lvl3pPr marL="914400" indent="0">
              <a:buNone/>
              <a:defRPr sz="20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23900" y="2855968"/>
            <a:ext cx="3855720" cy="3011432"/>
          </a:xfrm>
        </p:spPr>
        <p:txBody>
          <a:bodyPr>
            <a:normAutofit/>
          </a:bodyPr>
          <a:lstStyle>
            <a:lvl1pPr marL="0" indent="0">
              <a:lnSpc>
                <a:spcPct val="113000"/>
              </a:lnSpc>
              <a:spcBef>
                <a:spcPts val="0"/>
              </a:spcBef>
              <a:spcAft>
                <a:spcPts val="1500"/>
              </a:spcAft>
              <a:buNone/>
              <a:defRPr sz="2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23900" y="6453386"/>
            <a:ext cx="1204572" cy="4046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87DE6118-2437-4B30-8E3C-4D2BE6020583}" type="datetimeFigureOut">
              <a:rPr lang="en-US" dirty="0"/>
              <a:pPr/>
              <a:t>9/7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205945" y="6453386"/>
            <a:ext cx="2373675" cy="4046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9883140" y="6453386"/>
            <a:ext cx="1596292" cy="4046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69E57DC2-970A-4B3E-BB1C-7A09969E49DF}" type="slidenum">
              <a:rPr lang="en-US" dirty="0"/>
              <a:pPr/>
              <a:t>‹#›</a:t>
            </a:fld>
            <a:endParaRPr lang="en-US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A76958A6-8FB1-445D-BB17-D619DC39E089}"/>
              </a:ext>
            </a:extLst>
          </p:cNvPr>
          <p:cNvGrpSpPr/>
          <p:nvPr userDrawn="1"/>
        </p:nvGrpSpPr>
        <p:grpSpPr>
          <a:xfrm>
            <a:off x="4328932" y="0"/>
            <a:ext cx="7863068" cy="6858000"/>
            <a:chOff x="3461852" y="0"/>
            <a:chExt cx="8730148" cy="6858000"/>
          </a:xfrm>
        </p:grpSpPr>
        <p:sp>
          <p:nvSpPr>
            <p:cNvPr id="11" name="Freeform: Shape 11">
              <a:extLst>
                <a:ext uri="{FF2B5EF4-FFF2-40B4-BE49-F238E27FC236}">
                  <a16:creationId xmlns:a16="http://schemas.microsoft.com/office/drawing/2014/main" id="{3C37792F-39D6-4A1F-BE84-103229E3E4C7}"/>
                </a:ext>
              </a:extLst>
            </p:cNvPr>
            <p:cNvSpPr/>
            <p:nvPr/>
          </p:nvSpPr>
          <p:spPr>
            <a:xfrm>
              <a:off x="3461852" y="0"/>
              <a:ext cx="8730148" cy="6858000"/>
            </a:xfrm>
            <a:custGeom>
              <a:avLst/>
              <a:gdLst>
                <a:gd name="connsiteX0" fmla="*/ 0 w 8730148"/>
                <a:gd name="connsiteY0" fmla="*/ 0 h 6858000"/>
                <a:gd name="connsiteX1" fmla="*/ 8730148 w 8730148"/>
                <a:gd name="connsiteY1" fmla="*/ 0 h 6858000"/>
                <a:gd name="connsiteX2" fmla="*/ 8730148 w 8730148"/>
                <a:gd name="connsiteY2" fmla="*/ 23679 h 6858000"/>
                <a:gd name="connsiteX3" fmla="*/ 8730148 w 8730148"/>
                <a:gd name="connsiteY3" fmla="*/ 495863 h 6858000"/>
                <a:gd name="connsiteX4" fmla="*/ 8730148 w 8730148"/>
                <a:gd name="connsiteY4" fmla="*/ 952308 h 6858000"/>
                <a:gd name="connsiteX5" fmla="*/ 8730148 w 8730148"/>
                <a:gd name="connsiteY5" fmla="*/ 1393283 h 6858000"/>
                <a:gd name="connsiteX6" fmla="*/ 8730148 w 8730148"/>
                <a:gd name="connsiteY6" fmla="*/ 1819052 h 6858000"/>
                <a:gd name="connsiteX7" fmla="*/ 8730148 w 8730148"/>
                <a:gd name="connsiteY7" fmla="*/ 2229885 h 6858000"/>
                <a:gd name="connsiteX8" fmla="*/ 8730148 w 8730148"/>
                <a:gd name="connsiteY8" fmla="*/ 2626046 h 6858000"/>
                <a:gd name="connsiteX9" fmla="*/ 8730148 w 8730148"/>
                <a:gd name="connsiteY9" fmla="*/ 3007803 h 6858000"/>
                <a:gd name="connsiteX10" fmla="*/ 8730148 w 8730148"/>
                <a:gd name="connsiteY10" fmla="*/ 3375422 h 6858000"/>
                <a:gd name="connsiteX11" fmla="*/ 8730148 w 8730148"/>
                <a:gd name="connsiteY11" fmla="*/ 3729171 h 6858000"/>
                <a:gd name="connsiteX12" fmla="*/ 8730148 w 8730148"/>
                <a:gd name="connsiteY12" fmla="*/ 4069315 h 6858000"/>
                <a:gd name="connsiteX13" fmla="*/ 8730148 w 8730148"/>
                <a:gd name="connsiteY13" fmla="*/ 4396123 h 6858000"/>
                <a:gd name="connsiteX14" fmla="*/ 8730148 w 8730148"/>
                <a:gd name="connsiteY14" fmla="*/ 4709860 h 6858000"/>
                <a:gd name="connsiteX15" fmla="*/ 8730148 w 8730148"/>
                <a:gd name="connsiteY15" fmla="*/ 5010793 h 6858000"/>
                <a:gd name="connsiteX16" fmla="*/ 8730148 w 8730148"/>
                <a:gd name="connsiteY16" fmla="*/ 5299189 h 6858000"/>
                <a:gd name="connsiteX17" fmla="*/ 8730148 w 8730148"/>
                <a:gd name="connsiteY17" fmla="*/ 5575315 h 6858000"/>
                <a:gd name="connsiteX18" fmla="*/ 8730148 w 8730148"/>
                <a:gd name="connsiteY18" fmla="*/ 5839437 h 6858000"/>
                <a:gd name="connsiteX19" fmla="*/ 8730148 w 8730148"/>
                <a:gd name="connsiteY19" fmla="*/ 6091822 h 6858000"/>
                <a:gd name="connsiteX20" fmla="*/ 8730148 w 8730148"/>
                <a:gd name="connsiteY20" fmla="*/ 6332738 h 6858000"/>
                <a:gd name="connsiteX21" fmla="*/ 8730148 w 8730148"/>
                <a:gd name="connsiteY21" fmla="*/ 6562450 h 6858000"/>
                <a:gd name="connsiteX22" fmla="*/ 8730148 w 8730148"/>
                <a:gd name="connsiteY22" fmla="*/ 6781226 h 6858000"/>
                <a:gd name="connsiteX23" fmla="*/ 8730148 w 8730148"/>
                <a:gd name="connsiteY23" fmla="*/ 6858000 h 6858000"/>
                <a:gd name="connsiteX24" fmla="*/ 1680266 w 8730148"/>
                <a:gd name="connsiteY24" fmla="*/ 6858000 h 6858000"/>
                <a:gd name="connsiteX25" fmla="*/ 1725275 w 8730148"/>
                <a:gd name="connsiteY25" fmla="*/ 6819058 h 6858000"/>
                <a:gd name="connsiteX26" fmla="*/ 3705962 w 8730148"/>
                <a:gd name="connsiteY26" fmla="*/ 2012619 h 6858000"/>
                <a:gd name="connsiteX27" fmla="*/ 116582 w 8730148"/>
                <a:gd name="connsiteY27" fmla="*/ 253235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8730148" h="6858000">
                  <a:moveTo>
                    <a:pt x="0" y="0"/>
                  </a:moveTo>
                  <a:lnTo>
                    <a:pt x="8730148" y="0"/>
                  </a:lnTo>
                  <a:lnTo>
                    <a:pt x="8730148" y="23679"/>
                  </a:lnTo>
                  <a:lnTo>
                    <a:pt x="8730148" y="495863"/>
                  </a:lnTo>
                  <a:lnTo>
                    <a:pt x="8730148" y="952308"/>
                  </a:lnTo>
                  <a:lnTo>
                    <a:pt x="8730148" y="1393283"/>
                  </a:lnTo>
                  <a:lnTo>
                    <a:pt x="8730148" y="1819052"/>
                  </a:lnTo>
                  <a:lnTo>
                    <a:pt x="8730148" y="2229885"/>
                  </a:lnTo>
                  <a:lnTo>
                    <a:pt x="8730148" y="2626046"/>
                  </a:lnTo>
                  <a:lnTo>
                    <a:pt x="8730148" y="3007803"/>
                  </a:lnTo>
                  <a:lnTo>
                    <a:pt x="8730148" y="3375422"/>
                  </a:lnTo>
                  <a:lnTo>
                    <a:pt x="8730148" y="3729171"/>
                  </a:lnTo>
                  <a:lnTo>
                    <a:pt x="8730148" y="4069315"/>
                  </a:lnTo>
                  <a:lnTo>
                    <a:pt x="8730148" y="4396123"/>
                  </a:lnTo>
                  <a:lnTo>
                    <a:pt x="8730148" y="4709860"/>
                  </a:lnTo>
                  <a:lnTo>
                    <a:pt x="8730148" y="5010793"/>
                  </a:lnTo>
                  <a:lnTo>
                    <a:pt x="8730148" y="5299189"/>
                  </a:lnTo>
                  <a:lnTo>
                    <a:pt x="8730148" y="5575315"/>
                  </a:lnTo>
                  <a:lnTo>
                    <a:pt x="8730148" y="5839437"/>
                  </a:lnTo>
                  <a:lnTo>
                    <a:pt x="8730148" y="6091822"/>
                  </a:lnTo>
                  <a:lnTo>
                    <a:pt x="8730148" y="6332738"/>
                  </a:lnTo>
                  <a:lnTo>
                    <a:pt x="8730148" y="6562450"/>
                  </a:lnTo>
                  <a:lnTo>
                    <a:pt x="8730148" y="6781226"/>
                  </a:lnTo>
                  <a:lnTo>
                    <a:pt x="8730148" y="6858000"/>
                  </a:lnTo>
                  <a:lnTo>
                    <a:pt x="1680266" y="6858000"/>
                  </a:lnTo>
                  <a:lnTo>
                    <a:pt x="1725275" y="6819058"/>
                  </a:lnTo>
                  <a:cubicBezTo>
                    <a:pt x="4662995" y="4201443"/>
                    <a:pt x="4141233" y="1217168"/>
                    <a:pt x="3705962" y="2012619"/>
                  </a:cubicBezTo>
                  <a:cubicBezTo>
                    <a:pt x="3516434" y="3033940"/>
                    <a:pt x="1425698" y="2929072"/>
                    <a:pt x="116582" y="253235"/>
                  </a:cubicBezTo>
                  <a:close/>
                </a:path>
              </a:pathLst>
            </a:custGeom>
            <a:solidFill>
              <a:srgbClr val="2C00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/>
            </a:p>
          </p:txBody>
        </p:sp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id="{D9D750E2-E6DE-4123-9001-1391D1C49BBA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3803" y="2034666"/>
              <a:ext cx="669225" cy="544797"/>
            </a:xfrm>
            <a:custGeom>
              <a:avLst/>
              <a:gdLst>
                <a:gd name="T0" fmla="*/ 98 w 149"/>
                <a:gd name="T1" fmla="*/ 84 h 121"/>
                <a:gd name="T2" fmla="*/ 149 w 149"/>
                <a:gd name="T3" fmla="*/ 34 h 121"/>
                <a:gd name="T4" fmla="*/ 112 w 149"/>
                <a:gd name="T5" fmla="*/ 0 h 121"/>
                <a:gd name="T6" fmla="*/ 39 w 149"/>
                <a:gd name="T7" fmla="*/ 78 h 121"/>
                <a:gd name="T8" fmla="*/ 0 w 149"/>
                <a:gd name="T9" fmla="*/ 113 h 121"/>
                <a:gd name="T10" fmla="*/ 29 w 149"/>
                <a:gd name="T11" fmla="*/ 121 h 121"/>
                <a:gd name="T12" fmla="*/ 99 w 149"/>
                <a:gd name="T13" fmla="*/ 99 h 121"/>
                <a:gd name="T14" fmla="*/ 64 w 149"/>
                <a:gd name="T15" fmla="*/ 67 h 121"/>
                <a:gd name="T16" fmla="*/ 98 w 149"/>
                <a:gd name="T17" fmla="*/ 84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9" h="121">
                  <a:moveTo>
                    <a:pt x="98" y="84"/>
                  </a:moveTo>
                  <a:cubicBezTo>
                    <a:pt x="127" y="84"/>
                    <a:pt x="149" y="61"/>
                    <a:pt x="149" y="34"/>
                  </a:cubicBezTo>
                  <a:cubicBezTo>
                    <a:pt x="147" y="22"/>
                    <a:pt x="143" y="0"/>
                    <a:pt x="112" y="0"/>
                  </a:cubicBezTo>
                  <a:cubicBezTo>
                    <a:pt x="78" y="0"/>
                    <a:pt x="67" y="47"/>
                    <a:pt x="39" y="78"/>
                  </a:cubicBezTo>
                  <a:cubicBezTo>
                    <a:pt x="37" y="95"/>
                    <a:pt x="20" y="111"/>
                    <a:pt x="0" y="113"/>
                  </a:cubicBezTo>
                  <a:cubicBezTo>
                    <a:pt x="5" y="118"/>
                    <a:pt x="16" y="121"/>
                    <a:pt x="29" y="121"/>
                  </a:cubicBezTo>
                  <a:cubicBezTo>
                    <a:pt x="54" y="121"/>
                    <a:pt x="83" y="114"/>
                    <a:pt x="99" y="99"/>
                  </a:cubicBezTo>
                  <a:cubicBezTo>
                    <a:pt x="78" y="99"/>
                    <a:pt x="65" y="86"/>
                    <a:pt x="64" y="67"/>
                  </a:cubicBezTo>
                  <a:cubicBezTo>
                    <a:pt x="74" y="79"/>
                    <a:pt x="85" y="84"/>
                    <a:pt x="98" y="84"/>
                  </a:cubicBezTo>
                </a:path>
              </a:pathLst>
            </a:custGeom>
            <a:solidFill>
              <a:srgbClr val="00B9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PT"/>
            </a:p>
          </p:txBody>
        </p:sp>
        <p:sp>
          <p:nvSpPr>
            <p:cNvPr id="13" name="Freeform 11">
              <a:extLst>
                <a:ext uri="{FF2B5EF4-FFF2-40B4-BE49-F238E27FC236}">
                  <a16:creationId xmlns:a16="http://schemas.microsoft.com/office/drawing/2014/main" id="{53936070-5445-4D5B-B6F0-A72D3CC87FBE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4057" y="1641201"/>
              <a:ext cx="1018971" cy="860913"/>
            </a:xfrm>
            <a:custGeom>
              <a:avLst/>
              <a:gdLst>
                <a:gd name="T0" fmla="*/ 227 w 227"/>
                <a:gd name="T1" fmla="*/ 120 h 192"/>
                <a:gd name="T2" fmla="*/ 188 w 227"/>
                <a:gd name="T3" fmla="*/ 40 h 192"/>
                <a:gd name="T4" fmla="*/ 127 w 227"/>
                <a:gd name="T5" fmla="*/ 2 h 192"/>
                <a:gd name="T6" fmla="*/ 122 w 227"/>
                <a:gd name="T7" fmla="*/ 0 h 192"/>
                <a:gd name="T8" fmla="*/ 121 w 227"/>
                <a:gd name="T9" fmla="*/ 0 h 192"/>
                <a:gd name="T10" fmla="*/ 0 w 227"/>
                <a:gd name="T11" fmla="*/ 125 h 192"/>
                <a:gd name="T12" fmla="*/ 42 w 227"/>
                <a:gd name="T13" fmla="*/ 187 h 192"/>
                <a:gd name="T14" fmla="*/ 85 w 227"/>
                <a:gd name="T15" fmla="*/ 187 h 192"/>
                <a:gd name="T16" fmla="*/ 117 w 227"/>
                <a:gd name="T17" fmla="*/ 166 h 192"/>
                <a:gd name="T18" fmla="*/ 190 w 227"/>
                <a:gd name="T19" fmla="*/ 88 h 192"/>
                <a:gd name="T20" fmla="*/ 227 w 227"/>
                <a:gd name="T21" fmla="*/ 122 h 192"/>
                <a:gd name="T22" fmla="*/ 227 w 227"/>
                <a:gd name="T23" fmla="*/ 12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7" h="192">
                  <a:moveTo>
                    <a:pt x="227" y="120"/>
                  </a:moveTo>
                  <a:cubicBezTo>
                    <a:pt x="226" y="88"/>
                    <a:pt x="211" y="61"/>
                    <a:pt x="188" y="40"/>
                  </a:cubicBezTo>
                  <a:cubicBezTo>
                    <a:pt x="170" y="23"/>
                    <a:pt x="149" y="11"/>
                    <a:pt x="127" y="2"/>
                  </a:cubicBezTo>
                  <a:cubicBezTo>
                    <a:pt x="125" y="1"/>
                    <a:pt x="123" y="0"/>
                    <a:pt x="122" y="0"/>
                  </a:cubicBezTo>
                  <a:cubicBezTo>
                    <a:pt x="122" y="0"/>
                    <a:pt x="122" y="0"/>
                    <a:pt x="121" y="0"/>
                  </a:cubicBezTo>
                  <a:cubicBezTo>
                    <a:pt x="94" y="32"/>
                    <a:pt x="0" y="57"/>
                    <a:pt x="0" y="125"/>
                  </a:cubicBezTo>
                  <a:cubicBezTo>
                    <a:pt x="0" y="152"/>
                    <a:pt x="17" y="176"/>
                    <a:pt x="42" y="187"/>
                  </a:cubicBezTo>
                  <a:cubicBezTo>
                    <a:pt x="56" y="192"/>
                    <a:pt x="70" y="192"/>
                    <a:pt x="85" y="187"/>
                  </a:cubicBezTo>
                  <a:cubicBezTo>
                    <a:pt x="98" y="183"/>
                    <a:pt x="108" y="175"/>
                    <a:pt x="117" y="166"/>
                  </a:cubicBezTo>
                  <a:cubicBezTo>
                    <a:pt x="145" y="135"/>
                    <a:pt x="156" y="88"/>
                    <a:pt x="190" y="88"/>
                  </a:cubicBezTo>
                  <a:cubicBezTo>
                    <a:pt x="221" y="88"/>
                    <a:pt x="225" y="110"/>
                    <a:pt x="227" y="122"/>
                  </a:cubicBezTo>
                  <a:cubicBezTo>
                    <a:pt x="227" y="122"/>
                    <a:pt x="227" y="121"/>
                    <a:pt x="227" y="120"/>
                  </a:cubicBezTo>
                </a:path>
              </a:pathLst>
            </a:custGeom>
            <a:solidFill>
              <a:srgbClr val="007D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PT"/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371600" y="685800"/>
            <a:ext cx="9601200" cy="14859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71600" y="2286000"/>
            <a:ext cx="9601200" cy="3581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390650" y="6453386"/>
            <a:ext cx="1204572" cy="40461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aseline="0">
                <a:solidFill>
                  <a:schemeClr val="tx2"/>
                </a:solidFill>
              </a:defRPr>
            </a:lvl1pPr>
          </a:lstStyle>
          <a:p>
            <a:fld id="{87DE6118-2437-4B30-8E3C-4D2BE6020583}" type="datetimeFigureOut">
              <a:rPr lang="en-US" dirty="0"/>
              <a:pPr/>
              <a:t>9/7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93564" y="6453386"/>
            <a:ext cx="6280830" cy="40461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aseline="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72736" y="6453386"/>
            <a:ext cx="1596292" cy="40461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aseline="0">
                <a:solidFill>
                  <a:schemeClr val="tx2"/>
                </a:solidFill>
              </a:defRPr>
            </a:lvl1pPr>
          </a:lstStyle>
          <a:p>
            <a:fld id="{69E57DC2-970A-4B3E-BB1C-7A09969E49DF}" type="slidenum">
              <a:rPr lang="en-US" dirty="0"/>
              <a:pPr/>
              <a:t>‹#›</a:t>
            </a:fld>
            <a:endParaRPr lang="en-US" dirty="0"/>
          </a:p>
        </p:txBody>
      </p:sp>
      <p:sp>
        <p:nvSpPr>
          <p:cNvPr id="9" name="Rectangle 8" title="Side bar"/>
          <p:cNvSpPr/>
          <p:nvPr/>
        </p:nvSpPr>
        <p:spPr>
          <a:xfrm>
            <a:off x="478095" y="376"/>
            <a:ext cx="2286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88A1A95F-E6B1-4D64-9EE3-62F86C387690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extLst>
              <a:ext uri="{96DAC541-7B7A-43D3-8B79-37D633B846F1}">
                <asvg:svgBlip xmlns:asvg="http://schemas.microsoft.com/office/drawing/2016/SVG/main" xmlns="" r:embed="rId19"/>
              </a:ext>
            </a:extLst>
          </a:blip>
          <a:stretch>
            <a:fillRect/>
          </a:stretch>
        </p:blipFill>
        <p:spPr>
          <a:xfrm>
            <a:off x="143524" y="5780459"/>
            <a:ext cx="886097" cy="938841"/>
          </a:xfrm>
          <a:prstGeom prst="rect">
            <a:avLst/>
          </a:prstGeom>
        </p:spPr>
      </p:pic>
      <p:grpSp>
        <p:nvGrpSpPr>
          <p:cNvPr id="12" name="Group 14"/>
          <p:cNvGrpSpPr>
            <a:grpSpLocks noChangeAspect="1"/>
          </p:cNvGrpSpPr>
          <p:nvPr userDrawn="1"/>
        </p:nvGrpSpPr>
        <p:grpSpPr>
          <a:xfrm>
            <a:off x="9769232" y="214877"/>
            <a:ext cx="2112264" cy="470923"/>
            <a:chOff x="728663" y="4465638"/>
            <a:chExt cx="5354637" cy="1193801"/>
          </a:xfrm>
        </p:grpSpPr>
        <p:sp>
          <p:nvSpPr>
            <p:cNvPr id="13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  <p:sldLayoutId id="2147483662" r:id="rId13"/>
    <p:sldLayoutId id="2147483663" r:id="rId14"/>
    <p:sldLayoutId id="2147483664" r:id="rId15"/>
    <p:sldLayoutId id="2147483665" r:id="rId16"/>
  </p:sldLayoutIdLst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  <p:txStyles>
    <p:titleStyle>
      <a:lvl1pPr algn="l" defTabSz="914400" rtl="0" eaLnBrk="1" latinLnBrk="0" hangingPunct="1">
        <a:lnSpc>
          <a:spcPct val="89000"/>
        </a:lnSpc>
        <a:spcBef>
          <a:spcPct val="0"/>
        </a:spcBef>
        <a:buNone/>
        <a:defRPr sz="4400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84048" indent="-384048" algn="l" defTabSz="914400" rtl="0" eaLnBrk="1" latinLnBrk="0" hangingPunct="1">
        <a:lnSpc>
          <a:spcPct val="150000"/>
        </a:lnSpc>
        <a:spcBef>
          <a:spcPts val="1000"/>
        </a:spcBef>
        <a:spcAft>
          <a:spcPts val="200"/>
        </a:spcAft>
        <a:buFont typeface="Franklin Gothic Book" panose="020B0503020102020204" pitchFamily="34" charset="0"/>
        <a:buChar char="■"/>
        <a:defRPr sz="2000" kern="1200" baseline="0">
          <a:solidFill>
            <a:schemeClr val="tx2"/>
          </a:solidFill>
          <a:latin typeface="+mn-lt"/>
          <a:ea typeface="+mn-ea"/>
          <a:cs typeface="+mn-cs"/>
        </a:defRPr>
      </a:lvl1pPr>
      <a:lvl2pPr marL="914400" indent="-384048" algn="l" defTabSz="914400" rtl="0" eaLnBrk="1" latinLnBrk="0" hangingPunct="1">
        <a:lnSpc>
          <a:spcPct val="94000"/>
        </a:lnSpc>
        <a:spcBef>
          <a:spcPts val="500"/>
        </a:spcBef>
        <a:spcAft>
          <a:spcPts val="200"/>
        </a:spcAft>
        <a:buFont typeface="Franklin Gothic Book" panose="020B0503020102020204" pitchFamily="34" charset="0"/>
        <a:buChar char="–"/>
        <a:defRPr sz="2000" i="1" kern="1200" baseline="0">
          <a:solidFill>
            <a:schemeClr val="tx2"/>
          </a:solidFill>
          <a:latin typeface="+mn-lt"/>
          <a:ea typeface="+mn-ea"/>
          <a:cs typeface="+mn-cs"/>
        </a:defRPr>
      </a:lvl2pPr>
      <a:lvl3pPr marL="1371600" indent="-384048" algn="l" defTabSz="914400" rtl="0" eaLnBrk="1" latinLnBrk="0" hangingPunct="1">
        <a:lnSpc>
          <a:spcPct val="94000"/>
        </a:lnSpc>
        <a:spcBef>
          <a:spcPts val="500"/>
        </a:spcBef>
        <a:spcAft>
          <a:spcPts val="200"/>
        </a:spcAft>
        <a:buFont typeface="Franklin Gothic Book" panose="020B0503020102020204" pitchFamily="34" charset="0"/>
        <a:buChar char="■"/>
        <a:defRPr sz="1800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1828800" indent="-384048" algn="l" defTabSz="914400" rtl="0" eaLnBrk="1" latinLnBrk="0" hangingPunct="1">
        <a:lnSpc>
          <a:spcPct val="94000"/>
        </a:lnSpc>
        <a:spcBef>
          <a:spcPts val="500"/>
        </a:spcBef>
        <a:spcAft>
          <a:spcPts val="200"/>
        </a:spcAft>
        <a:buFont typeface="Franklin Gothic Book" panose="020B0503020102020204" pitchFamily="34" charset="0"/>
        <a:buChar char="–"/>
        <a:defRPr sz="1800" i="1" kern="1200" baseline="0">
          <a:solidFill>
            <a:schemeClr val="tx2"/>
          </a:solidFill>
          <a:latin typeface="+mn-lt"/>
          <a:ea typeface="+mn-ea"/>
          <a:cs typeface="+mn-cs"/>
        </a:defRPr>
      </a:lvl4pPr>
      <a:lvl5pPr marL="2286000" indent="-384048" algn="l" defTabSz="914400" rtl="0" eaLnBrk="1" latinLnBrk="0" hangingPunct="1">
        <a:lnSpc>
          <a:spcPct val="94000"/>
        </a:lnSpc>
        <a:spcBef>
          <a:spcPts val="500"/>
        </a:spcBef>
        <a:spcAft>
          <a:spcPts val="200"/>
        </a:spcAft>
        <a:buFont typeface="Franklin Gothic Book" panose="020B0503020102020204" pitchFamily="34" charset="0"/>
        <a:buChar char="■"/>
        <a:defRPr sz="1600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2743200" indent="-384048" algn="l" defTabSz="914400" rtl="0" eaLnBrk="1" latinLnBrk="0" hangingPunct="1">
        <a:lnSpc>
          <a:spcPct val="94000"/>
        </a:lnSpc>
        <a:spcBef>
          <a:spcPts val="500"/>
        </a:spcBef>
        <a:spcAft>
          <a:spcPts val="200"/>
        </a:spcAft>
        <a:buFont typeface="Franklin Gothic Book" panose="020B0503020102020204" pitchFamily="34" charset="0"/>
        <a:buChar char="–"/>
        <a:defRPr sz="1600" i="1" kern="1200" baseline="0">
          <a:solidFill>
            <a:schemeClr val="tx2"/>
          </a:solidFill>
          <a:latin typeface="+mn-lt"/>
          <a:ea typeface="+mn-ea"/>
          <a:cs typeface="+mn-cs"/>
        </a:defRPr>
      </a:lvl6pPr>
      <a:lvl7pPr marL="3200400" indent="-384048" algn="l" defTabSz="914400" rtl="0" eaLnBrk="1" latinLnBrk="0" hangingPunct="1">
        <a:lnSpc>
          <a:spcPct val="94000"/>
        </a:lnSpc>
        <a:spcBef>
          <a:spcPts val="500"/>
        </a:spcBef>
        <a:spcAft>
          <a:spcPts val="200"/>
        </a:spcAft>
        <a:buFont typeface="Franklin Gothic Book" panose="020B0503020102020204" pitchFamily="34" charset="0"/>
        <a:buChar char="■"/>
        <a:defRPr sz="1400" kern="1200" baseline="0">
          <a:solidFill>
            <a:schemeClr val="tx2"/>
          </a:solidFill>
          <a:latin typeface="+mn-lt"/>
          <a:ea typeface="+mn-ea"/>
          <a:cs typeface="+mn-cs"/>
        </a:defRPr>
      </a:lvl7pPr>
      <a:lvl8pPr marL="3657600" indent="-384048" algn="l" defTabSz="914400" rtl="0" eaLnBrk="1" latinLnBrk="0" hangingPunct="1">
        <a:lnSpc>
          <a:spcPct val="94000"/>
        </a:lnSpc>
        <a:spcBef>
          <a:spcPts val="500"/>
        </a:spcBef>
        <a:spcAft>
          <a:spcPts val="200"/>
        </a:spcAft>
        <a:buFont typeface="Franklin Gothic Book" panose="020B0503020102020204" pitchFamily="34" charset="0"/>
        <a:buChar char="–"/>
        <a:defRPr sz="1400" i="1" kern="1200" baseline="0">
          <a:solidFill>
            <a:schemeClr val="tx2"/>
          </a:solidFill>
          <a:latin typeface="+mn-lt"/>
          <a:ea typeface="+mn-ea"/>
          <a:cs typeface="+mn-cs"/>
        </a:defRPr>
      </a:lvl8pPr>
      <a:lvl9pPr marL="4114800" indent="-384048" algn="l" defTabSz="914400" rtl="0" eaLnBrk="1" latinLnBrk="0" hangingPunct="1">
        <a:lnSpc>
          <a:spcPct val="94000"/>
        </a:lnSpc>
        <a:spcBef>
          <a:spcPts val="500"/>
        </a:spcBef>
        <a:spcAft>
          <a:spcPts val="200"/>
        </a:spcAft>
        <a:buFont typeface="Franklin Gothic Book" panose="020B0503020102020204" pitchFamily="34" charset="0"/>
        <a:buChar char="■"/>
        <a:defRPr sz="140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3" orient="horz" pos="1368">
          <p15:clr>
            <a:srgbClr val="F26B43"/>
          </p15:clr>
        </p15:guide>
        <p15:guide id="4" orient="horz" pos="1440">
          <p15:clr>
            <a:srgbClr val="F26B43"/>
          </p15:clr>
        </p15:guide>
        <p15:guide id="6" orient="horz" pos="3696">
          <p15:clr>
            <a:srgbClr val="F26B43"/>
          </p15:clr>
        </p15:guide>
        <p15:guide id="7" orient="horz" pos="432">
          <p15:clr>
            <a:srgbClr val="F26B43"/>
          </p15:clr>
        </p15:guide>
        <p15:guide id="8" orient="horz" pos="1512">
          <p15:clr>
            <a:srgbClr val="F26B43"/>
          </p15:clr>
        </p15:guide>
        <p15:guide id="9" pos="6912">
          <p15:clr>
            <a:srgbClr val="F26B43"/>
          </p15:clr>
        </p15:guide>
        <p15:guide id="10" pos="936">
          <p15:clr>
            <a:srgbClr val="F26B43"/>
          </p15:clr>
        </p15:guide>
        <p15:guide id="11" pos="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5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5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5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C18349-BE40-45B0-B85F-362D04219E3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84259" y="1192192"/>
            <a:ext cx="7026363" cy="2804929"/>
          </a:xfrm>
        </p:spPr>
        <p:txBody>
          <a:bodyPr/>
          <a:lstStyle/>
          <a:p>
            <a:r>
              <a:rPr lang="en-IN" dirty="0"/>
              <a:t>      Angular 6</a:t>
            </a:r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Lesson 07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72207360-794A-4E0D-A171-1118974E633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284259" y="2693595"/>
            <a:ext cx="1230294" cy="1303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6003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window dir="ver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/>
              <a:t>Routing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806008" y="1428750"/>
            <a:ext cx="11385992" cy="4643751"/>
          </a:xfrm>
        </p:spPr>
        <p:txBody>
          <a:bodyPr>
            <a:noAutofit/>
          </a:bodyPr>
          <a:lstStyle/>
          <a:p>
            <a:pPr algn="just">
              <a:lnSpc>
                <a:spcPct val="110000"/>
              </a:lnSpc>
            </a:pPr>
            <a:r>
              <a:rPr lang="en-US" dirty="0"/>
              <a:t>Routing means loading sub-templates depending upon the URL of the page.</a:t>
            </a:r>
          </a:p>
          <a:p>
            <a:pPr algn="just">
              <a:lnSpc>
                <a:spcPct val="110000"/>
              </a:lnSpc>
            </a:pPr>
            <a:r>
              <a:rPr lang="en-US" dirty="0"/>
              <a:t>We can break out the view into a layout and template views and only show the view which we want to show based upon the URL the user is accessing.</a:t>
            </a:r>
          </a:p>
          <a:p>
            <a:pPr algn="just">
              <a:lnSpc>
                <a:spcPct val="110000"/>
              </a:lnSpc>
            </a:pPr>
            <a:r>
              <a:rPr lang="en-US" dirty="0"/>
              <a:t>Routes are a way for multiple views to be used within a single HTML page. This enables you page to look more "app-like" because users are not seeing page reloads happen within the browser.</a:t>
            </a:r>
          </a:p>
          <a:p>
            <a:pPr algn="just">
              <a:lnSpc>
                <a:spcPct val="110000"/>
              </a:lnSpc>
            </a:pPr>
            <a:r>
              <a:rPr lang="en-US" dirty="0"/>
              <a:t>Defining routes in application can:</a:t>
            </a:r>
          </a:p>
          <a:p>
            <a:pPr lvl="1">
              <a:lnSpc>
                <a:spcPct val="110000"/>
              </a:lnSpc>
            </a:pPr>
            <a:r>
              <a:rPr lang="en-US" dirty="0"/>
              <a:t>Separate different areas of the app</a:t>
            </a:r>
          </a:p>
          <a:p>
            <a:pPr lvl="1">
              <a:lnSpc>
                <a:spcPct val="110000"/>
              </a:lnSpc>
            </a:pPr>
            <a:r>
              <a:rPr lang="en-US" dirty="0"/>
              <a:t>Maintain the state in the app</a:t>
            </a:r>
          </a:p>
          <a:p>
            <a:pPr lvl="1">
              <a:lnSpc>
                <a:spcPct val="110000"/>
              </a:lnSpc>
            </a:pPr>
            <a:r>
              <a:rPr lang="en-US" dirty="0"/>
              <a:t>Protect areas of the app based on certain rules</a:t>
            </a:r>
          </a:p>
          <a:p>
            <a:pPr algn="just">
              <a:lnSpc>
                <a:spcPct val="110000"/>
              </a:lnSpc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073195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/>
              <a:t>AngularJS Routes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806008" y="1528449"/>
            <a:ext cx="11385992" cy="4643751"/>
          </a:xfrm>
        </p:spPr>
        <p:txBody>
          <a:bodyPr>
            <a:normAutofit/>
          </a:bodyPr>
          <a:lstStyle/>
          <a:p>
            <a:pPr algn="just">
              <a:lnSpc>
                <a:spcPct val="110000"/>
              </a:lnSpc>
            </a:pPr>
            <a:r>
              <a:rPr lang="en-US" dirty="0"/>
              <a:t>AngularJS routes enable us to create different URLs for different content in our application. </a:t>
            </a:r>
          </a:p>
          <a:p>
            <a:pPr algn="just">
              <a:lnSpc>
                <a:spcPct val="110000"/>
              </a:lnSpc>
            </a:pPr>
            <a:r>
              <a:rPr lang="en-US" dirty="0"/>
              <a:t>Having different URLs for different content enables the user to bookmark URLs to specific content. </a:t>
            </a:r>
          </a:p>
          <a:p>
            <a:pPr algn="just">
              <a:lnSpc>
                <a:spcPct val="110000"/>
              </a:lnSpc>
            </a:pPr>
            <a:r>
              <a:rPr lang="en-US" dirty="0"/>
              <a:t>In Angular 2 routes are configured  by mapping paths to the component that will handle them.</a:t>
            </a:r>
          </a:p>
          <a:p>
            <a:pPr algn="just">
              <a:lnSpc>
                <a:spcPct val="110000"/>
              </a:lnSpc>
            </a:pPr>
            <a:r>
              <a:rPr lang="en-US" dirty="0"/>
              <a:t>For instance, let consider an application with 2 routes:</a:t>
            </a:r>
          </a:p>
          <a:p>
            <a:pPr lvl="1">
              <a:lnSpc>
                <a:spcPct val="110000"/>
              </a:lnSpc>
            </a:pPr>
            <a:r>
              <a:rPr lang="en-US" dirty="0"/>
              <a:t>A main page route, using the /#/home path;</a:t>
            </a:r>
          </a:p>
          <a:p>
            <a:pPr lvl="1">
              <a:lnSpc>
                <a:spcPct val="110000"/>
              </a:lnSpc>
            </a:pPr>
            <a:r>
              <a:rPr lang="en-US" dirty="0"/>
              <a:t>An about page, using the /#/about path;</a:t>
            </a:r>
          </a:p>
          <a:p>
            <a:pPr lvl="1">
              <a:lnSpc>
                <a:spcPct val="110000"/>
              </a:lnSpc>
            </a:pPr>
            <a:r>
              <a:rPr lang="en-US" dirty="0"/>
              <a:t>And when the user visits the root path (/#/), it will redirect to the home path.</a:t>
            </a:r>
          </a:p>
        </p:txBody>
      </p:sp>
    </p:spTree>
    <p:extLst>
      <p:ext uri="{BB962C8B-B14F-4D97-AF65-F5344CB8AC3E}">
        <p14:creationId xmlns:p14="http://schemas.microsoft.com/office/powerpoint/2010/main" val="132159778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/>
              <a:t>Routing Setup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915257" y="1528449"/>
            <a:ext cx="11385992" cy="4643751"/>
          </a:xfrm>
        </p:spPr>
        <p:txBody>
          <a:bodyPr>
            <a:normAutofit/>
          </a:bodyPr>
          <a:lstStyle/>
          <a:p>
            <a:pPr algn="just">
              <a:lnSpc>
                <a:spcPct val="100000"/>
              </a:lnSpc>
            </a:pPr>
            <a:r>
              <a:rPr lang="en-US" dirty="0"/>
              <a:t>To  implement Routing to Angular Application</a:t>
            </a:r>
          </a:p>
          <a:p>
            <a:pPr algn="just">
              <a:lnSpc>
                <a:spcPct val="100000"/>
              </a:lnSpc>
            </a:pPr>
            <a:r>
              <a:rPr lang="en-US" dirty="0"/>
              <a:t>Import </a:t>
            </a:r>
            <a:r>
              <a:rPr lang="en-US" dirty="0" err="1"/>
              <a:t>RouterModule</a:t>
            </a:r>
            <a:r>
              <a:rPr lang="en-US" dirty="0"/>
              <a:t> and Routes from ‘@angular/router’</a:t>
            </a:r>
          </a:p>
          <a:p>
            <a:pPr lvl="1">
              <a:lnSpc>
                <a:spcPct val="100000"/>
              </a:lnSpc>
            </a:pPr>
            <a:r>
              <a:rPr lang="en-US" dirty="0"/>
              <a:t>import { </a:t>
            </a:r>
            <a:r>
              <a:rPr lang="en-US" dirty="0" err="1"/>
              <a:t>RouterModule</a:t>
            </a:r>
            <a:r>
              <a:rPr lang="en-US" dirty="0"/>
              <a:t>, Routes} from '@angular/router';</a:t>
            </a:r>
          </a:p>
          <a:p>
            <a:pPr algn="just">
              <a:lnSpc>
                <a:spcPct val="100000"/>
              </a:lnSpc>
            </a:pPr>
            <a:r>
              <a:rPr lang="en-US" dirty="0"/>
              <a:t>Define routes for application</a:t>
            </a:r>
            <a:endParaRPr lang="en-US" sz="1600" dirty="0"/>
          </a:p>
          <a:p>
            <a:pPr lvl="1">
              <a:lnSpc>
                <a:spcPct val="100000"/>
              </a:lnSpc>
            </a:pPr>
            <a:r>
              <a:rPr lang="en-US" dirty="0" err="1"/>
              <a:t>const</a:t>
            </a:r>
            <a:r>
              <a:rPr lang="en-US" dirty="0"/>
              <a:t> routes: Routes = [ { path: 'home', component: </a:t>
            </a:r>
            <a:r>
              <a:rPr lang="en-US" dirty="0" err="1"/>
              <a:t>HomeComponent</a:t>
            </a:r>
            <a:r>
              <a:rPr lang="en-US" dirty="0"/>
              <a:t> }];</a:t>
            </a:r>
          </a:p>
          <a:p>
            <a:pPr marL="342900" lvl="1" indent="-342900" algn="just">
              <a:lnSpc>
                <a:spcPct val="100000"/>
              </a:lnSpc>
              <a:buFont typeface="Wingdings" panose="05000000000000000000" pitchFamily="2" charset="2"/>
              <a:buChar char="Ø"/>
            </a:pPr>
            <a:r>
              <a:rPr lang="en-US" sz="1950" dirty="0"/>
              <a:t>Install the routes using </a:t>
            </a:r>
            <a:r>
              <a:rPr lang="en-US" sz="1950" dirty="0" err="1"/>
              <a:t>RouterModule.forRoot</a:t>
            </a:r>
            <a:r>
              <a:rPr lang="en-US" sz="1950" dirty="0"/>
              <a:t>(routes) in the imports of </a:t>
            </a:r>
            <a:r>
              <a:rPr lang="en-US" sz="1950" dirty="0" err="1"/>
              <a:t>NgModule</a:t>
            </a:r>
            <a:endParaRPr lang="en-US" sz="1950" dirty="0"/>
          </a:p>
          <a:p>
            <a:pPr marL="568325" lvl="2" indent="-225425">
              <a:lnSpc>
                <a:spcPct val="100000"/>
              </a:lnSpc>
            </a:pPr>
            <a:r>
              <a:rPr lang="en-US" sz="1600" dirty="0"/>
              <a:t>imports: [ </a:t>
            </a:r>
            <a:r>
              <a:rPr lang="en-US" sz="1600" dirty="0" err="1"/>
              <a:t>BrowserModule</a:t>
            </a:r>
            <a:r>
              <a:rPr lang="en-US" sz="1600" dirty="0"/>
              <a:t>,  </a:t>
            </a:r>
            <a:r>
              <a:rPr lang="en-US" sz="1600" dirty="0" err="1"/>
              <a:t>RouterModule.forRoot</a:t>
            </a:r>
            <a:r>
              <a:rPr lang="en-US" sz="1600" dirty="0"/>
              <a:t>(routes)]</a:t>
            </a:r>
          </a:p>
        </p:txBody>
      </p:sp>
    </p:spTree>
    <p:extLst>
      <p:ext uri="{BB962C8B-B14F-4D97-AF65-F5344CB8AC3E}">
        <p14:creationId xmlns:p14="http://schemas.microsoft.com/office/powerpoint/2010/main" val="8566291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/>
              <a:t>Components of Angular routing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algn="just">
              <a:lnSpc>
                <a:spcPct val="100000"/>
              </a:lnSpc>
            </a:pPr>
            <a:r>
              <a:rPr lang="en-US" dirty="0"/>
              <a:t>There are three main components are used to configure routing in Angular</a:t>
            </a:r>
          </a:p>
        </p:txBody>
      </p:sp>
      <p:graphicFrame>
        <p:nvGraphicFramePr>
          <p:cNvPr id="4" name="Diagram 3"/>
          <p:cNvGraphicFramePr/>
          <p:nvPr>
            <p:extLst/>
          </p:nvPr>
        </p:nvGraphicFramePr>
        <p:xfrm>
          <a:off x="1946032" y="2416569"/>
          <a:ext cx="8170983" cy="42300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17513720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uter </a:t>
            </a:r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473802124"/>
              </p:ext>
            </p:extLst>
          </p:nvPr>
        </p:nvGraphicFramePr>
        <p:xfrm>
          <a:off x="1371600" y="1428750"/>
          <a:ext cx="8539162" cy="5053498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28709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25206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74643"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 dirty="0">
                          <a:effectLst/>
                        </a:rPr>
                        <a:t>Router Part</a:t>
                      </a:r>
                      <a:endParaRPr lang="en-US" sz="1800" b="1" dirty="0">
                        <a:effectLst/>
                      </a:endParaRPr>
                    </a:p>
                  </a:txBody>
                  <a:tcPr marL="203465" marR="203465" marT="101600" marB="101600"/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 dirty="0">
                          <a:effectLst/>
                        </a:rPr>
                        <a:t>Meaning</a:t>
                      </a:r>
                      <a:endParaRPr lang="en-US" sz="1800" b="1" dirty="0">
                        <a:effectLst/>
                      </a:endParaRPr>
                    </a:p>
                  </a:txBody>
                  <a:tcPr marL="203465" marR="203465" marT="101600" marB="1016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19978"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 dirty="0">
                          <a:effectLst/>
                        </a:rPr>
                        <a:t>Router</a:t>
                      </a:r>
                      <a:endParaRPr lang="en-US" sz="1800" b="0" dirty="0">
                        <a:effectLst/>
                      </a:endParaRPr>
                    </a:p>
                  </a:txBody>
                  <a:tcPr marL="203465" marR="203465" marT="101600" marB="101600"/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>
                          <a:effectLst/>
                        </a:rPr>
                        <a:t>Displays the application component for the active URL. Manages navigation from one component to the next.</a:t>
                      </a:r>
                      <a:endParaRPr lang="en-US" sz="1800" b="0">
                        <a:effectLst/>
                      </a:endParaRPr>
                    </a:p>
                  </a:txBody>
                  <a:tcPr marL="203465" marR="203465" marT="101600" marB="1016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19978"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 dirty="0" err="1">
                          <a:effectLst/>
                        </a:rPr>
                        <a:t>RouterModule</a:t>
                      </a:r>
                      <a:endParaRPr lang="en-US" sz="1800" b="0" dirty="0">
                        <a:effectLst/>
                      </a:endParaRPr>
                    </a:p>
                  </a:txBody>
                  <a:tcPr marL="203465" marR="203465" marT="101600" marB="101600"/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>
                          <a:effectLst/>
                        </a:rPr>
                        <a:t>A separate Angular module that provides the necessary service providers and directives for navigating through application views.</a:t>
                      </a:r>
                      <a:endParaRPr lang="en-US" sz="1800" b="0">
                        <a:effectLst/>
                      </a:endParaRPr>
                    </a:p>
                  </a:txBody>
                  <a:tcPr marL="203465" marR="203465" marT="101600" marB="1016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47311"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>
                          <a:effectLst/>
                        </a:rPr>
                        <a:t>Routes</a:t>
                      </a:r>
                      <a:endParaRPr lang="en-US" sz="1800" b="0">
                        <a:effectLst/>
                      </a:endParaRPr>
                    </a:p>
                  </a:txBody>
                  <a:tcPr marL="203465" marR="203465" marT="101600" marB="101600"/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 dirty="0">
                          <a:effectLst/>
                        </a:rPr>
                        <a:t>Defines an array of Routes, each mapping a URL path to a component.</a:t>
                      </a:r>
                      <a:endParaRPr lang="en-US" sz="1800" b="0" dirty="0">
                        <a:effectLst/>
                      </a:endParaRPr>
                    </a:p>
                  </a:txBody>
                  <a:tcPr marL="203465" marR="203465" marT="101600" marB="1016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019978"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>
                          <a:effectLst/>
                        </a:rPr>
                        <a:t>Route</a:t>
                      </a:r>
                      <a:endParaRPr lang="en-US" sz="1800" b="0">
                        <a:effectLst/>
                      </a:endParaRPr>
                    </a:p>
                  </a:txBody>
                  <a:tcPr marL="203465" marR="203465" marT="101600" marB="101600"/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>
                          <a:effectLst/>
                        </a:rPr>
                        <a:t>Defines how the router should navigate to a component based on a URL pattern. Most routes consist of a path and a component type.</a:t>
                      </a:r>
                      <a:endParaRPr lang="en-US" sz="1800" b="0">
                        <a:effectLst/>
                      </a:endParaRPr>
                    </a:p>
                  </a:txBody>
                  <a:tcPr marL="203465" marR="203465" marT="101600" marB="1016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47311"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>
                          <a:effectLst/>
                        </a:rPr>
                        <a:t>RouterOutlet</a:t>
                      </a:r>
                      <a:endParaRPr lang="en-US" sz="1800" b="0">
                        <a:effectLst/>
                      </a:endParaRPr>
                    </a:p>
                  </a:txBody>
                  <a:tcPr marL="203465" marR="203465" marT="101600" marB="101600"/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 dirty="0">
                          <a:effectLst/>
                        </a:rPr>
                        <a:t>The directive (&lt;router-outlet&gt;) that marks where the router displays a view.</a:t>
                      </a:r>
                      <a:endParaRPr lang="en-US" sz="1800" b="0" dirty="0">
                        <a:effectLst/>
                      </a:endParaRPr>
                    </a:p>
                  </a:txBody>
                  <a:tcPr marL="203465" marR="203465" marT="101600" marB="10160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2920222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uter (</a:t>
            </a:r>
            <a:r>
              <a:rPr lang="en-US" dirty="0" err="1"/>
              <a:t>Contd</a:t>
            </a:r>
            <a:r>
              <a:rPr lang="en-US" dirty="0"/>
              <a:t>…)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67894067"/>
              </p:ext>
            </p:extLst>
          </p:nvPr>
        </p:nvGraphicFramePr>
        <p:xfrm>
          <a:off x="1467225" y="1428750"/>
          <a:ext cx="8532018" cy="5154338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2419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29009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71548"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 dirty="0">
                          <a:effectLst/>
                        </a:rPr>
                        <a:t>Router Part</a:t>
                      </a:r>
                      <a:endParaRPr lang="en-US" sz="1800" b="1" dirty="0">
                        <a:effectLst/>
                      </a:endParaRPr>
                    </a:p>
                  </a:txBody>
                  <a:tcPr marL="203465" marR="203465" marT="101600" marB="101600"/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 dirty="0">
                          <a:effectLst/>
                        </a:rPr>
                        <a:t>Meaning</a:t>
                      </a:r>
                      <a:endParaRPr lang="en-US" sz="1800" b="1" dirty="0">
                        <a:effectLst/>
                      </a:endParaRPr>
                    </a:p>
                  </a:txBody>
                  <a:tcPr marL="203465" marR="203465" marT="101600" marB="1016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29995"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 dirty="0" err="1">
                          <a:effectLst/>
                        </a:rPr>
                        <a:t>RouterLink</a:t>
                      </a:r>
                      <a:endParaRPr lang="en-US" sz="1800" b="0" dirty="0">
                        <a:effectLst/>
                      </a:endParaRPr>
                    </a:p>
                  </a:txBody>
                  <a:tcPr marL="148293" marR="148293" marT="74147" marB="74147"/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 dirty="0">
                          <a:effectLst/>
                        </a:rPr>
                        <a:t>The directive for binding a clickable HTML element to a route. Clicking an element with a </a:t>
                      </a:r>
                      <a:r>
                        <a:rPr lang="en-US" sz="1800" dirty="0" err="1">
                          <a:effectLst/>
                        </a:rPr>
                        <a:t>routerLinkdirective</a:t>
                      </a:r>
                      <a:r>
                        <a:rPr lang="en-US" sz="1800" dirty="0">
                          <a:effectLst/>
                        </a:rPr>
                        <a:t> that is bound to a string or a link parameters array triggers a navigation.</a:t>
                      </a:r>
                      <a:endParaRPr lang="en-US" sz="1800" b="0" dirty="0">
                        <a:effectLst/>
                      </a:endParaRPr>
                    </a:p>
                  </a:txBody>
                  <a:tcPr marL="148293" marR="148293" marT="74147" marB="74147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29995"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 dirty="0" err="1">
                          <a:effectLst/>
                        </a:rPr>
                        <a:t>RouterLinkActive</a:t>
                      </a:r>
                      <a:endParaRPr lang="en-US" sz="1800" b="0" dirty="0">
                        <a:effectLst/>
                      </a:endParaRPr>
                    </a:p>
                  </a:txBody>
                  <a:tcPr marL="148293" marR="148293" marT="74147" marB="74147"/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 dirty="0">
                          <a:effectLst/>
                        </a:rPr>
                        <a:t>The directive for adding/removing classes from an HTML element when an associated </a:t>
                      </a:r>
                      <a:r>
                        <a:rPr lang="en-US" sz="1800" dirty="0" err="1">
                          <a:effectLst/>
                        </a:rPr>
                        <a:t>routerLink</a:t>
                      </a:r>
                      <a:r>
                        <a:rPr lang="en-US" sz="1800" dirty="0">
                          <a:effectLst/>
                        </a:rPr>
                        <a:t> contained on or inside the element becomes active/inactive.</a:t>
                      </a:r>
                      <a:endParaRPr lang="en-US" sz="1800" b="0" dirty="0">
                        <a:effectLst/>
                      </a:endParaRPr>
                    </a:p>
                  </a:txBody>
                  <a:tcPr marL="148293" marR="148293" marT="74147" marB="74147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229995"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 dirty="0" err="1">
                          <a:effectLst/>
                        </a:rPr>
                        <a:t>ActivatedRoute</a:t>
                      </a:r>
                      <a:endParaRPr lang="en-US" sz="1800" b="0" dirty="0">
                        <a:effectLst/>
                      </a:endParaRPr>
                    </a:p>
                  </a:txBody>
                  <a:tcPr marL="148293" marR="148293" marT="74147" marB="74147"/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 dirty="0">
                          <a:effectLst/>
                        </a:rPr>
                        <a:t>A service that is provided to each route component that contains route specific information such as route parameters, static data, resolve data, global query </a:t>
                      </a:r>
                      <a:r>
                        <a:rPr lang="en-US" sz="1800" dirty="0" err="1">
                          <a:effectLst/>
                        </a:rPr>
                        <a:t>params</a:t>
                      </a:r>
                      <a:r>
                        <a:rPr lang="en-US" sz="1800" dirty="0">
                          <a:effectLst/>
                        </a:rPr>
                        <a:t>, and the global fragment.</a:t>
                      </a:r>
                      <a:endParaRPr lang="en-US" sz="1800" b="0" dirty="0">
                        <a:effectLst/>
                      </a:endParaRPr>
                    </a:p>
                  </a:txBody>
                  <a:tcPr marL="148293" marR="148293" marT="74147" marB="74147"/>
                </a:tc>
                <a:extLst>
                  <a:ext uri="{0D108BD9-81ED-4DB2-BD59-A6C34878D82A}">
                    <a16:rowId xmlns:a16="http://schemas.microsoft.com/office/drawing/2014/main" val="4090602872"/>
                  </a:ext>
                </a:extLst>
              </a:tr>
              <a:tr h="959106"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 dirty="0" err="1">
                          <a:effectLst/>
                        </a:rPr>
                        <a:t>RouterState</a:t>
                      </a:r>
                      <a:endParaRPr lang="en-US" sz="1800" b="0" dirty="0">
                        <a:effectLst/>
                      </a:endParaRPr>
                    </a:p>
                  </a:txBody>
                  <a:tcPr marL="148293" marR="148293" marT="74147" marB="74147"/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 dirty="0">
                          <a:effectLst/>
                        </a:rPr>
                        <a:t>The current state of the router including a tree of the currently activated routes together with convenience methods for traversing the route tree.</a:t>
                      </a:r>
                      <a:endParaRPr lang="en-US" sz="1800" b="0" dirty="0">
                        <a:effectLst/>
                      </a:endParaRPr>
                    </a:p>
                  </a:txBody>
                  <a:tcPr marL="148293" marR="148293" marT="74147" marB="74147"/>
                </a:tc>
                <a:extLst>
                  <a:ext uri="{0D108BD9-81ED-4DB2-BD59-A6C34878D82A}">
                    <a16:rowId xmlns:a16="http://schemas.microsoft.com/office/drawing/2014/main" val="255623219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6395409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uter (</a:t>
            </a:r>
            <a:r>
              <a:rPr lang="en-US" dirty="0" err="1"/>
              <a:t>Contd</a:t>
            </a:r>
            <a:r>
              <a:rPr lang="en-US" dirty="0"/>
              <a:t>…)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769781196"/>
              </p:ext>
            </p:extLst>
          </p:nvPr>
        </p:nvGraphicFramePr>
        <p:xfrm>
          <a:off x="1451299" y="1561255"/>
          <a:ext cx="8532018" cy="2678996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30363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49571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69972"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 dirty="0">
                          <a:effectLst/>
                        </a:rPr>
                        <a:t>Router Part</a:t>
                      </a:r>
                      <a:endParaRPr lang="en-US" sz="1800" b="1" dirty="0">
                        <a:effectLst/>
                      </a:endParaRPr>
                    </a:p>
                  </a:txBody>
                  <a:tcPr marL="203465" marR="203465" marT="101600" marB="101600"/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 dirty="0">
                          <a:effectLst/>
                        </a:rPr>
                        <a:t>Meaning</a:t>
                      </a:r>
                      <a:endParaRPr lang="en-US" sz="1800" b="1" dirty="0">
                        <a:effectLst/>
                      </a:endParaRPr>
                    </a:p>
                  </a:txBody>
                  <a:tcPr marL="203465" marR="203465" marT="101600" marB="1016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25886"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 dirty="0">
                          <a:effectLst/>
                        </a:rPr>
                        <a:t>Link parameters array</a:t>
                      </a:r>
                      <a:endParaRPr lang="en-US" sz="1800" b="0" dirty="0">
                        <a:effectLst/>
                      </a:endParaRPr>
                    </a:p>
                  </a:txBody>
                  <a:tcPr marL="148293" marR="148293" marT="74147" marB="74147"/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 dirty="0">
                          <a:effectLst/>
                        </a:rPr>
                        <a:t>An array that the router interprets as a routing instruction. You can bind that array to a </a:t>
                      </a:r>
                      <a:r>
                        <a:rPr lang="en-US" sz="1800" dirty="0" err="1">
                          <a:effectLst/>
                        </a:rPr>
                        <a:t>RouterLink</a:t>
                      </a:r>
                      <a:r>
                        <a:rPr lang="en-US" sz="1800" dirty="0">
                          <a:effectLst/>
                        </a:rPr>
                        <a:t> or pass the array as an argument to the </a:t>
                      </a:r>
                      <a:r>
                        <a:rPr lang="en-US" sz="1800" dirty="0" err="1">
                          <a:effectLst/>
                        </a:rPr>
                        <a:t>Router.navigate</a:t>
                      </a:r>
                      <a:r>
                        <a:rPr lang="en-US" sz="1800" dirty="0">
                          <a:effectLst/>
                        </a:rPr>
                        <a:t> method.</a:t>
                      </a:r>
                      <a:endParaRPr lang="en-US" sz="1800" b="0" dirty="0">
                        <a:effectLst/>
                      </a:endParaRPr>
                    </a:p>
                  </a:txBody>
                  <a:tcPr marL="148293" marR="148293" marT="74147" marB="74147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955902"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>
                          <a:effectLst/>
                        </a:rPr>
                        <a:t>Routing component</a:t>
                      </a:r>
                      <a:endParaRPr lang="en-US" sz="1800" b="0">
                        <a:effectLst/>
                      </a:endParaRPr>
                    </a:p>
                  </a:txBody>
                  <a:tcPr marL="148293" marR="148293" marT="74147" marB="74147"/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en-US" sz="1800" dirty="0">
                          <a:effectLst/>
                        </a:rPr>
                        <a:t>An Angular component with a </a:t>
                      </a:r>
                      <a:r>
                        <a:rPr lang="en-US" sz="1800" dirty="0" err="1">
                          <a:effectLst/>
                        </a:rPr>
                        <a:t>RouterOutlet</a:t>
                      </a:r>
                      <a:r>
                        <a:rPr lang="en-US" sz="1800" dirty="0">
                          <a:effectLst/>
                        </a:rPr>
                        <a:t> that displays views based on router navigations.</a:t>
                      </a:r>
                      <a:endParaRPr lang="en-US" sz="1800" b="0" dirty="0">
                        <a:effectLst/>
                      </a:endParaRPr>
                    </a:p>
                  </a:txBody>
                  <a:tcPr marL="148293" marR="148293" marT="74147" marB="74147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2789188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/>
              <a:t>Routes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933730" y="1428750"/>
            <a:ext cx="11385992" cy="4643751"/>
          </a:xfrm>
        </p:spPr>
        <p:txBody>
          <a:bodyPr>
            <a:normAutofit/>
          </a:bodyPr>
          <a:lstStyle/>
          <a:p>
            <a:pPr algn="just"/>
            <a:r>
              <a:rPr lang="en-US" dirty="0"/>
              <a:t>To define routes for application, create a Routes configuration and then use </a:t>
            </a:r>
            <a:r>
              <a:rPr lang="en-US" dirty="0" err="1"/>
              <a:t>RouterModule.forRoot</a:t>
            </a:r>
            <a:r>
              <a:rPr lang="en-US" dirty="0"/>
              <a:t>(routes) to provide application with the dependencies necessary to use the router.</a:t>
            </a:r>
          </a:p>
          <a:p>
            <a:pPr lvl="1"/>
            <a:r>
              <a:rPr lang="en-US" dirty="0"/>
              <a:t>path specifies the URL this route will handle</a:t>
            </a:r>
          </a:p>
          <a:p>
            <a:pPr lvl="1"/>
            <a:r>
              <a:rPr lang="en-US" dirty="0"/>
              <a:t>component maps to the Component and its template</a:t>
            </a:r>
          </a:p>
          <a:p>
            <a:pPr lvl="1"/>
            <a:r>
              <a:rPr lang="en-US" dirty="0"/>
              <a:t>optional </a:t>
            </a:r>
            <a:r>
              <a:rPr lang="en-US" dirty="0" err="1"/>
              <a:t>redirectTo</a:t>
            </a:r>
            <a:r>
              <a:rPr lang="en-US" dirty="0"/>
              <a:t> is used to redirect a given path to an existing route</a:t>
            </a:r>
          </a:p>
        </p:txBody>
      </p:sp>
      <p:sp>
        <p:nvSpPr>
          <p:cNvPr id="4" name="Rounded Rectangle 3"/>
          <p:cNvSpPr/>
          <p:nvPr/>
        </p:nvSpPr>
        <p:spPr>
          <a:xfrm>
            <a:off x="1663613" y="4010891"/>
            <a:ext cx="8464061" cy="2678722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lvl="1"/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t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outes: Routes = [</a:t>
            </a:r>
          </a:p>
          <a:p>
            <a:pPr lvl="2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{ path: '',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directTo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'home',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thMatch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'full' },</a:t>
            </a:r>
          </a:p>
          <a:p>
            <a:pPr lvl="2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{ path: 'home', component: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meComponent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},</a:t>
            </a:r>
          </a:p>
          <a:p>
            <a:pPr lvl="2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{ path: 'about', component: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boutComponent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},</a:t>
            </a:r>
          </a:p>
          <a:p>
            <a:pPr lvl="2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{ path: 'contact', component: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actComponent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},</a:t>
            </a:r>
          </a:p>
          <a:p>
            <a:pPr lvl="2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{ path: '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actus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',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directTo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'contact' },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];</a:t>
            </a:r>
          </a:p>
        </p:txBody>
      </p:sp>
    </p:spTree>
    <p:extLst>
      <p:ext uri="{BB962C8B-B14F-4D97-AF65-F5344CB8AC3E}">
        <p14:creationId xmlns:p14="http://schemas.microsoft.com/office/powerpoint/2010/main" val="350451022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 err="1"/>
              <a:t>RouterOutlet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806008" y="1528449"/>
            <a:ext cx="11385992" cy="4643751"/>
          </a:xfrm>
        </p:spPr>
        <p:txBody>
          <a:bodyPr/>
          <a:lstStyle/>
          <a:p>
            <a:pPr algn="just"/>
            <a:r>
              <a:rPr lang="en-US" dirty="0"/>
              <a:t>The router-outlet element indicates where the contents of each route component will be rendered.</a:t>
            </a:r>
          </a:p>
          <a:p>
            <a:pPr algn="just"/>
            <a:r>
              <a:rPr lang="en-US" dirty="0" err="1"/>
              <a:t>RouterOutlet</a:t>
            </a:r>
            <a:r>
              <a:rPr lang="en-US" dirty="0"/>
              <a:t> directive is used to describe to Angular where in our page we want to render the contents for each route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2772579" y="3305591"/>
            <a:ext cx="6087326" cy="2432741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@Component({  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lector: 'my-app',  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late:`&lt;div class="container"&gt; 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&lt;router-outlet&gt;&lt;/router-outlet&gt;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&lt;/div&gt;`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})</a:t>
            </a:r>
          </a:p>
        </p:txBody>
      </p:sp>
    </p:spTree>
    <p:extLst>
      <p:ext uri="{BB962C8B-B14F-4D97-AF65-F5344CB8AC3E}">
        <p14:creationId xmlns:p14="http://schemas.microsoft.com/office/powerpoint/2010/main" val="116552222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IN" dirty="0"/>
              <a:t>Navigating with Router links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118457" y="1544920"/>
            <a:ext cx="11385992" cy="4643751"/>
          </a:xfrm>
        </p:spPr>
        <p:txBody>
          <a:bodyPr>
            <a:normAutofit/>
          </a:bodyPr>
          <a:lstStyle/>
          <a:p>
            <a:pPr algn="just"/>
            <a:r>
              <a:rPr lang="en-US" dirty="0"/>
              <a:t>It generates link based on the route path.</a:t>
            </a:r>
          </a:p>
          <a:p>
            <a:pPr algn="just"/>
            <a:r>
              <a:rPr lang="en-US" dirty="0" err="1"/>
              <a:t>routerLink</a:t>
            </a:r>
            <a:r>
              <a:rPr lang="en-US" dirty="0"/>
              <a:t> navigates to a route</a:t>
            </a:r>
          </a:p>
        </p:txBody>
      </p:sp>
      <p:sp>
        <p:nvSpPr>
          <p:cNvPr id="4" name="Rounded Rectangle 3"/>
          <p:cNvSpPr/>
          <p:nvPr/>
        </p:nvSpPr>
        <p:spPr>
          <a:xfrm>
            <a:off x="2554014" y="2825262"/>
            <a:ext cx="5910048" cy="2083069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lt;div&gt;                            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&lt;a [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uterLink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]="['Home']"&gt;Home&lt;/a&gt; 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&lt;a [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uterLink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]="[‘About']"&gt;About Us&lt;/a&gt;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lt;/div&gt;</a:t>
            </a:r>
          </a:p>
        </p:txBody>
      </p:sp>
    </p:spTree>
    <p:extLst>
      <p:ext uri="{BB962C8B-B14F-4D97-AF65-F5344CB8AC3E}">
        <p14:creationId xmlns:p14="http://schemas.microsoft.com/office/powerpoint/2010/main" val="19837021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onents Deep Dive / Routing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bjectives</a:t>
            </a:r>
          </a:p>
        </p:txBody>
      </p:sp>
    </p:spTree>
    <p:extLst>
      <p:ext uri="{BB962C8B-B14F-4D97-AF65-F5344CB8AC3E}">
        <p14:creationId xmlns:p14="http://schemas.microsoft.com/office/powerpoint/2010/main" val="802294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 err="1"/>
              <a:t>RouterOutlet</a:t>
            </a:r>
            <a:r>
              <a:rPr lang="en-US" dirty="0"/>
              <a:t> &amp; </a:t>
            </a:r>
            <a:r>
              <a:rPr lang="en-US" dirty="0" err="1"/>
              <a:t>RouterLink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 bwMode="auto">
          <a:xfrm>
            <a:off x="3599117" y="1508578"/>
            <a:ext cx="4657866" cy="317772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2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4033936" y="2824304"/>
            <a:ext cx="3788228" cy="1357441"/>
          </a:xfrm>
          <a:prstGeom prst="rect">
            <a:avLst/>
          </a:prstGeom>
          <a:ln>
            <a:prstDash val="sysDash"/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200" dirty="0">
                <a:solidFill>
                  <a:srgbClr val="000000"/>
                </a:solidFill>
              </a:rPr>
              <a:t>&lt;router-outlet&gt;</a:t>
            </a:r>
          </a:p>
        </p:txBody>
      </p:sp>
      <p:sp>
        <p:nvSpPr>
          <p:cNvPr id="8" name="Rectangle 7"/>
          <p:cNvSpPr/>
          <p:nvPr/>
        </p:nvSpPr>
        <p:spPr bwMode="auto">
          <a:xfrm>
            <a:off x="4033937" y="2174219"/>
            <a:ext cx="3788227" cy="532522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rgbClr val="000000"/>
                </a:solidFill>
              </a:rPr>
              <a:t>&lt;a [</a:t>
            </a:r>
            <a:r>
              <a:rPr lang="en-US" sz="1600" dirty="0" err="1">
                <a:solidFill>
                  <a:srgbClr val="000000"/>
                </a:solidFill>
              </a:rPr>
              <a:t>routerLink</a:t>
            </a:r>
            <a:r>
              <a:rPr lang="en-US" sz="1600" dirty="0">
                <a:solidFill>
                  <a:srgbClr val="000000"/>
                </a:solidFill>
              </a:rPr>
              <a:t>]="['Go']"&gt;Go&lt;/a&gt;</a:t>
            </a:r>
          </a:p>
        </p:txBody>
      </p:sp>
      <p:sp>
        <p:nvSpPr>
          <p:cNvPr id="9" name="Rectangle 8"/>
          <p:cNvSpPr/>
          <p:nvPr/>
        </p:nvSpPr>
        <p:spPr>
          <a:xfrm>
            <a:off x="1937477" y="5661139"/>
            <a:ext cx="8363938" cy="3924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1950" dirty="0">
                <a:solidFill>
                  <a:srgbClr val="000000"/>
                </a:solidFill>
                <a:latin typeface="+mj-lt"/>
                <a:cs typeface="Consolas" panose="020B0609020204030204" pitchFamily="49" charset="0"/>
              </a:rPr>
              <a:t>Code : </a:t>
            </a:r>
            <a:r>
              <a:rPr lang="en-US" altLang="en-US" sz="1950" dirty="0" err="1">
                <a:solidFill>
                  <a:srgbClr val="000000"/>
                </a:solidFill>
                <a:latin typeface="+mj-lt"/>
                <a:cs typeface="Consolas" panose="020B0609020204030204" pitchFamily="49" charset="0"/>
              </a:rPr>
              <a:t>router.navigate</a:t>
            </a:r>
            <a:r>
              <a:rPr lang="en-US" altLang="en-US" sz="1950" dirty="0">
                <a:solidFill>
                  <a:srgbClr val="000000"/>
                </a:solidFill>
                <a:latin typeface="+mj-lt"/>
                <a:cs typeface="Consolas" panose="020B0609020204030204" pitchFamily="49" charset="0"/>
              </a:rPr>
              <a:t>( ['Go'] );</a:t>
            </a:r>
          </a:p>
        </p:txBody>
      </p:sp>
      <p:sp>
        <p:nvSpPr>
          <p:cNvPr id="10" name="Rectangle 2"/>
          <p:cNvSpPr>
            <a:spLocks noChangeArrowheads="1"/>
          </p:cNvSpPr>
          <p:nvPr/>
        </p:nvSpPr>
        <p:spPr bwMode="auto">
          <a:xfrm>
            <a:off x="1913437" y="5098915"/>
            <a:ext cx="8614605" cy="39241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1950" dirty="0">
                <a:solidFill>
                  <a:srgbClr val="000000"/>
                </a:solidFill>
                <a:latin typeface="+mj-lt"/>
                <a:cs typeface="Consolas" panose="020B0609020204030204" pitchFamily="49" charset="0"/>
              </a:rPr>
              <a:t>HTML : &lt;a [</a:t>
            </a:r>
            <a:r>
              <a:rPr lang="en-US" altLang="en-US" sz="1950" dirty="0" err="1">
                <a:solidFill>
                  <a:srgbClr val="000000"/>
                </a:solidFill>
                <a:latin typeface="+mj-lt"/>
                <a:cs typeface="Consolas" panose="020B0609020204030204" pitchFamily="49" charset="0"/>
              </a:rPr>
              <a:t>routerLink</a:t>
            </a:r>
            <a:r>
              <a:rPr lang="en-US" altLang="en-US" sz="1950" dirty="0">
                <a:solidFill>
                  <a:srgbClr val="000000"/>
                </a:solidFill>
                <a:latin typeface="+mj-lt"/>
                <a:cs typeface="Consolas" panose="020B0609020204030204" pitchFamily="49" charset="0"/>
              </a:rPr>
              <a:t>]="['Go']"&gt;Go&lt;/a&gt;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3626460" y="1220317"/>
            <a:ext cx="1266372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b="1" dirty="0">
                <a:gradFill>
                  <a:gsLst>
                    <a:gs pos="417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rPr>
              <a:t>Component:</a:t>
            </a:r>
          </a:p>
        </p:txBody>
      </p:sp>
      <p:sp>
        <p:nvSpPr>
          <p:cNvPr id="12" name="Rectangle 11"/>
          <p:cNvSpPr/>
          <p:nvPr/>
        </p:nvSpPr>
        <p:spPr bwMode="auto">
          <a:xfrm>
            <a:off x="3818075" y="1724846"/>
            <a:ext cx="4237355" cy="2685499"/>
          </a:xfrm>
          <a:prstGeom prst="rect">
            <a:avLst/>
          </a:prstGeom>
          <a:noFill/>
          <a:ln>
            <a:prstDash val="sysDash"/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rgbClr val="000000"/>
                </a:solidFill>
              </a:rPr>
              <a:t>Template</a:t>
            </a:r>
            <a:endParaRPr lang="en-US" sz="22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155279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/>
              <a:t>Routing Strategies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algn="just"/>
            <a:r>
              <a:rPr lang="en-US" dirty="0"/>
              <a:t>The way the Angular application parses and creates paths from and to route definitions is now location strategy.</a:t>
            </a:r>
          </a:p>
          <a:p>
            <a:pPr algn="just"/>
            <a:r>
              <a:rPr lang="en-US" dirty="0" err="1"/>
              <a:t>HashLocationStrategy</a:t>
            </a:r>
            <a:r>
              <a:rPr lang="en-US" dirty="0"/>
              <a:t> ('#/')</a:t>
            </a:r>
          </a:p>
          <a:p>
            <a:pPr algn="just"/>
            <a:r>
              <a:rPr lang="en-US" dirty="0" err="1"/>
              <a:t>PathLocationStrategy</a:t>
            </a:r>
            <a:r>
              <a:rPr lang="en-US" dirty="0"/>
              <a:t> (HTML 5 Mode Default)</a:t>
            </a:r>
          </a:p>
        </p:txBody>
      </p:sp>
      <p:sp>
        <p:nvSpPr>
          <p:cNvPr id="4" name="Rounded Rectangle 3"/>
          <p:cNvSpPr/>
          <p:nvPr/>
        </p:nvSpPr>
        <p:spPr>
          <a:xfrm>
            <a:off x="2505274" y="3818873"/>
            <a:ext cx="8003306" cy="2554014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import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cationStrategy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shLocationStrategy</a:t>
            </a:r>
            <a:endParaRPr lang="en-US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ort {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cationStrategy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shLocationStrategy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} from '@angular/common';</a:t>
            </a:r>
          </a:p>
          <a:p>
            <a:pPr lvl="1"/>
            <a:endParaRPr lang="en-US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add that location strategy to the providers of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gModule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viders: [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{ provide: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cationStrategy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Class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shLocationStrategy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}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]</a:t>
            </a:r>
          </a:p>
        </p:txBody>
      </p:sp>
    </p:spTree>
    <p:extLst>
      <p:ext uri="{BB962C8B-B14F-4D97-AF65-F5344CB8AC3E}">
        <p14:creationId xmlns:p14="http://schemas.microsoft.com/office/powerpoint/2010/main" val="87751936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IN" dirty="0"/>
              <a:t>Passing Parameters to Routes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053803" y="1528449"/>
            <a:ext cx="11385992" cy="4643751"/>
          </a:xfrm>
        </p:spPr>
        <p:txBody>
          <a:bodyPr/>
          <a:lstStyle/>
          <a:p>
            <a:pPr algn="just"/>
            <a:r>
              <a:rPr lang="en-US" dirty="0"/>
              <a:t>Route </a:t>
            </a:r>
            <a:r>
              <a:rPr lang="en-US" dirty="0" err="1"/>
              <a:t>Parametes</a:t>
            </a:r>
            <a:r>
              <a:rPr lang="en-US" dirty="0"/>
              <a:t> helps to navigate to a specific resource. For instance product with id 3</a:t>
            </a:r>
          </a:p>
          <a:p>
            <a:pPr lvl="1" algn="just"/>
            <a:r>
              <a:rPr lang="en-US" sz="1600" dirty="0"/>
              <a:t>/products/3</a:t>
            </a:r>
          </a:p>
          <a:p>
            <a:r>
              <a:rPr lang="en-US" dirty="0"/>
              <a:t>route takes a parameter by putting a colon : in front of the path segment</a:t>
            </a:r>
          </a:p>
          <a:p>
            <a:pPr lvl="1"/>
            <a:r>
              <a:rPr lang="en-US" sz="1600" dirty="0"/>
              <a:t>/route/:</a:t>
            </a:r>
            <a:r>
              <a:rPr lang="en-US" sz="1600" dirty="0" err="1"/>
              <a:t>param</a:t>
            </a:r>
            <a:endParaRPr lang="en-US" sz="1600" dirty="0"/>
          </a:p>
          <a:p>
            <a:r>
              <a:rPr lang="en-US" dirty="0"/>
              <a:t>To add a parameter to router configuration and to access the value refer the code given below</a:t>
            </a:r>
          </a:p>
          <a:p>
            <a:endParaRPr lang="en-US" dirty="0"/>
          </a:p>
          <a:p>
            <a:pPr lvl="1" algn="just"/>
            <a:endParaRPr lang="en-US" sz="1600" dirty="0"/>
          </a:p>
        </p:txBody>
      </p:sp>
      <p:sp>
        <p:nvSpPr>
          <p:cNvPr id="5" name="Rounded Rectangle 4"/>
          <p:cNvSpPr/>
          <p:nvPr/>
        </p:nvSpPr>
        <p:spPr>
          <a:xfrm>
            <a:off x="1933904" y="4232030"/>
            <a:ext cx="8428107" cy="2132841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lvl="1"/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t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outes: Routes =([    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{ path:'/products/:id',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me:‘Product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',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onent:ProductComponent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}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])</a:t>
            </a:r>
          </a:p>
          <a:p>
            <a:pPr lvl="1"/>
            <a:endParaRPr lang="en-US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*To access the parameter value */</a:t>
            </a:r>
          </a:p>
          <a:p>
            <a:pPr lvl="1"/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uteParams.get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'id')</a:t>
            </a:r>
          </a:p>
        </p:txBody>
      </p:sp>
    </p:spTree>
    <p:extLst>
      <p:ext uri="{BB962C8B-B14F-4D97-AF65-F5344CB8AC3E}">
        <p14:creationId xmlns:p14="http://schemas.microsoft.com/office/powerpoint/2010/main" val="71974471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 err="1"/>
              <a:t>ActivatedRoute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915258" y="1291569"/>
            <a:ext cx="11385992" cy="4643751"/>
          </a:xfrm>
        </p:spPr>
        <p:txBody>
          <a:bodyPr>
            <a:normAutofit/>
          </a:bodyPr>
          <a:lstStyle/>
          <a:p>
            <a:pPr algn="just"/>
            <a:r>
              <a:rPr lang="en-US" dirty="0"/>
              <a:t>In order to access route parameter value in Components, we need to import </a:t>
            </a:r>
            <a:r>
              <a:rPr lang="en-US" dirty="0" err="1"/>
              <a:t>ActivatedRoute</a:t>
            </a:r>
            <a:endParaRPr lang="en-US" dirty="0"/>
          </a:p>
          <a:p>
            <a:pPr lvl="1" algn="just"/>
            <a:endParaRPr lang="en-US" sz="1950" dirty="0"/>
          </a:p>
          <a:p>
            <a:pPr lvl="1" algn="just"/>
            <a:endParaRPr lang="en-US" sz="1950" dirty="0"/>
          </a:p>
          <a:p>
            <a:pPr lvl="1" algn="just"/>
            <a:endParaRPr lang="en-US" sz="1950" dirty="0"/>
          </a:p>
          <a:p>
            <a:pPr algn="just"/>
            <a:r>
              <a:rPr lang="en-US" dirty="0"/>
              <a:t>inject the </a:t>
            </a:r>
            <a:r>
              <a:rPr lang="en-US" dirty="0" err="1"/>
              <a:t>ActivatedRoute</a:t>
            </a:r>
            <a:r>
              <a:rPr lang="en-US" dirty="0"/>
              <a:t> into the constructor of our component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2375338" y="2138790"/>
            <a:ext cx="6092532" cy="830934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ort {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tivatedRoute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} from '@angular/router’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2290612" y="3545366"/>
            <a:ext cx="7434071" cy="2648617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ort class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ctComponent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{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id: string;</a:t>
            </a:r>
          </a:p>
          <a:p>
            <a:pPr lvl="1"/>
            <a:endParaRPr lang="en-US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constructor(private route: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tivatedRoute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{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ute.params.subscribe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ams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=&gt; { this.id =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ams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['id']; });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}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380321228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IN" dirty="0"/>
              <a:t>Understanding Navigation Path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38844" y="1521228"/>
            <a:ext cx="9601200" cy="4954387"/>
          </a:xfrm>
        </p:spPr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5160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IN" dirty="0"/>
              <a:t>Navigating Programmaticall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38844" y="1521228"/>
            <a:ext cx="9601200" cy="4954387"/>
          </a:xfrm>
        </p:spPr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7808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38844" y="238760"/>
            <a:ext cx="9601200" cy="1485900"/>
          </a:xfrm>
        </p:spPr>
        <p:txBody>
          <a:bodyPr/>
          <a:lstStyle/>
          <a:p>
            <a:pPr lvl="0"/>
            <a:r>
              <a:rPr lang="en-IN" dirty="0"/>
              <a:t>Passing Query Parameters and Fragmen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38844" y="1521228"/>
            <a:ext cx="9601200" cy="4954387"/>
          </a:xfrm>
        </p:spPr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6787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IN" dirty="0"/>
              <a:t>Setting up Child (Nested) Rout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38844" y="1521228"/>
            <a:ext cx="9601200" cy="4954387"/>
          </a:xfrm>
        </p:spPr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4677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IN" dirty="0"/>
              <a:t>Passing static data on rout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38844" y="1521228"/>
            <a:ext cx="9601200" cy="4954387"/>
          </a:xfrm>
        </p:spPr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3103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36320" y="666865"/>
            <a:ext cx="10119360" cy="1485900"/>
          </a:xfrm>
        </p:spPr>
        <p:txBody>
          <a:bodyPr/>
          <a:lstStyle/>
          <a:p>
            <a:pPr lvl="0"/>
            <a:r>
              <a:rPr lang="en-IN" dirty="0"/>
              <a:t>Map() operator and </a:t>
            </a:r>
            <a:r>
              <a:rPr lang="en-IN" dirty="0" err="1"/>
              <a:t>switchMap</a:t>
            </a:r>
            <a:r>
              <a:rPr lang="en-IN" dirty="0"/>
              <a:t>() operato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38844" y="1521228"/>
            <a:ext cx="9601200" cy="4954387"/>
          </a:xfrm>
        </p:spPr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0321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371600" y="147320"/>
            <a:ext cx="9601200" cy="1485900"/>
          </a:xfrm>
        </p:spPr>
        <p:txBody>
          <a:bodyPr/>
          <a:lstStyle/>
          <a:p>
            <a:pPr lvl="0"/>
            <a:r>
              <a:rPr lang="en-US" dirty="0"/>
              <a:t>Components Deep Dive / Rout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371600" y="1449069"/>
            <a:ext cx="4447786" cy="3581401"/>
          </a:xfrm>
        </p:spPr>
        <p:txBody>
          <a:bodyPr>
            <a:noAutofit/>
          </a:bodyPr>
          <a:lstStyle/>
          <a:p>
            <a:pPr lvl="0"/>
            <a:r>
              <a:rPr lang="en-IN" sz="1700" dirty="0"/>
              <a:t>Component Life Cycle Hooks</a:t>
            </a:r>
          </a:p>
          <a:p>
            <a:pPr lvl="0"/>
            <a:r>
              <a:rPr lang="en-IN" sz="1700" dirty="0"/>
              <a:t>Reusable components in angular using &lt;ng-content&gt;</a:t>
            </a:r>
            <a:endParaRPr lang="en-US" sz="1700" dirty="0"/>
          </a:p>
          <a:p>
            <a:pPr lvl="0"/>
            <a:r>
              <a:rPr lang="en-IN" sz="1700" dirty="0"/>
              <a:t>ng-content and @</a:t>
            </a:r>
            <a:r>
              <a:rPr lang="en-IN" sz="1700" dirty="0" err="1"/>
              <a:t>ContentChild</a:t>
            </a:r>
            <a:endParaRPr lang="en-IN" sz="1700" dirty="0"/>
          </a:p>
          <a:p>
            <a:pPr lvl="0"/>
            <a:r>
              <a:rPr lang="en-IN" sz="1700" dirty="0"/>
              <a:t>Inter-component communication (using Input, Output and Services)</a:t>
            </a:r>
            <a:endParaRPr lang="en-US" sz="1700" dirty="0"/>
          </a:p>
          <a:p>
            <a:pPr lvl="0"/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half" idx="2"/>
          </p:nvPr>
        </p:nvSpPr>
        <p:spPr>
          <a:xfrm>
            <a:off x="6372616" y="890270"/>
            <a:ext cx="4447786" cy="5723891"/>
          </a:xfrm>
        </p:spPr>
        <p:txBody>
          <a:bodyPr>
            <a:noAutofit/>
          </a:bodyPr>
          <a:lstStyle/>
          <a:p>
            <a:pPr lvl="0"/>
            <a:r>
              <a:rPr lang="en-IN" sz="1700" dirty="0"/>
              <a:t>Navigating with Router links</a:t>
            </a:r>
            <a:endParaRPr lang="en-US" sz="1700" dirty="0"/>
          </a:p>
          <a:p>
            <a:pPr lvl="0"/>
            <a:r>
              <a:rPr lang="en-IN" sz="1700" dirty="0"/>
              <a:t>Understanding Navigation Paths</a:t>
            </a:r>
            <a:endParaRPr lang="en-US" sz="1700" dirty="0"/>
          </a:p>
          <a:p>
            <a:pPr lvl="0"/>
            <a:r>
              <a:rPr lang="en-IN" sz="1700" dirty="0"/>
              <a:t>Navigating Programmatically</a:t>
            </a:r>
            <a:endParaRPr lang="en-US" sz="1700" dirty="0"/>
          </a:p>
          <a:p>
            <a:pPr lvl="0"/>
            <a:r>
              <a:rPr lang="en-IN" sz="1700" dirty="0"/>
              <a:t>Passing Parameters to Routes</a:t>
            </a:r>
            <a:endParaRPr lang="en-US" sz="1700" dirty="0"/>
          </a:p>
          <a:p>
            <a:pPr lvl="0"/>
            <a:r>
              <a:rPr lang="en-IN" sz="1700" dirty="0"/>
              <a:t>Passing Query Parameters and Fragments</a:t>
            </a:r>
          </a:p>
          <a:p>
            <a:pPr lvl="0"/>
            <a:r>
              <a:rPr lang="en-IN" sz="1700" dirty="0"/>
              <a:t>Setting up Child (Nested) Routes</a:t>
            </a:r>
          </a:p>
          <a:p>
            <a:pPr lvl="0"/>
            <a:r>
              <a:rPr lang="en-IN" sz="1700" dirty="0"/>
              <a:t>Passing static data on routes</a:t>
            </a:r>
            <a:endParaRPr lang="en-US" sz="1700" dirty="0"/>
          </a:p>
          <a:p>
            <a:pPr lvl="0"/>
            <a:r>
              <a:rPr lang="en-IN" sz="1700" dirty="0"/>
              <a:t>Map() operator and </a:t>
            </a:r>
            <a:r>
              <a:rPr lang="en-IN" sz="1700" dirty="0" err="1"/>
              <a:t>switchMap</a:t>
            </a:r>
            <a:r>
              <a:rPr lang="en-IN" sz="1700" dirty="0"/>
              <a:t>() operator</a:t>
            </a:r>
            <a:endParaRPr lang="en-US" sz="1700" dirty="0"/>
          </a:p>
          <a:p>
            <a:pPr lvl="0"/>
            <a:r>
              <a:rPr lang="en-IN" sz="1700" dirty="0"/>
              <a:t>Redirecting and wildcard routes</a:t>
            </a:r>
            <a:endParaRPr lang="en-US" sz="1700" dirty="0"/>
          </a:p>
          <a:p>
            <a:pPr lvl="0"/>
            <a:r>
              <a:rPr lang="en-IN" sz="1700" dirty="0"/>
              <a:t>Outsourcing Route Configuration (create custom module)</a:t>
            </a:r>
            <a:endParaRPr lang="en-US" sz="1700" dirty="0"/>
          </a:p>
        </p:txBody>
      </p:sp>
    </p:spTree>
    <p:extLst>
      <p:ext uri="{BB962C8B-B14F-4D97-AF65-F5344CB8AC3E}">
        <p14:creationId xmlns:p14="http://schemas.microsoft.com/office/powerpoint/2010/main" val="3164761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IN" dirty="0"/>
              <a:t>Redirecting and wildcard rout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38844" y="1521228"/>
            <a:ext cx="9601200" cy="4954387"/>
          </a:xfrm>
        </p:spPr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7760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9800" y="238760"/>
            <a:ext cx="10312400" cy="1485900"/>
          </a:xfrm>
        </p:spPr>
        <p:txBody>
          <a:bodyPr/>
          <a:lstStyle/>
          <a:p>
            <a:pPr lvl="0"/>
            <a:r>
              <a:rPr lang="en-IN" dirty="0"/>
              <a:t>Outsourcing Route Configuration </a:t>
            </a:r>
            <a:br>
              <a:rPr lang="en-IN" dirty="0"/>
            </a:br>
            <a:r>
              <a:rPr lang="en-IN" dirty="0"/>
              <a:t>(create custom module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38844" y="1521228"/>
            <a:ext cx="9601200" cy="4954387"/>
          </a:xfrm>
        </p:spPr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9852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007624" y="1428750"/>
            <a:ext cx="8866331" cy="4643751"/>
          </a:xfrm>
        </p:spPr>
        <p:txBody>
          <a:bodyPr/>
          <a:lstStyle/>
          <a:p>
            <a:r>
              <a:rPr lang="en-US" dirty="0"/>
              <a:t>Demo Router</a:t>
            </a:r>
          </a:p>
          <a:p>
            <a:r>
              <a:rPr lang="en-US" dirty="0"/>
              <a:t>Demo Router Passing Parameter</a:t>
            </a:r>
          </a:p>
        </p:txBody>
      </p:sp>
    </p:spTree>
    <p:extLst>
      <p:ext uri="{BB962C8B-B14F-4D97-AF65-F5344CB8AC3E}">
        <p14:creationId xmlns:p14="http://schemas.microsoft.com/office/powerpoint/2010/main" val="173647415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765025" y="1301360"/>
            <a:ext cx="10177295" cy="2852737"/>
          </a:xfrm>
        </p:spPr>
        <p:txBody>
          <a:bodyPr/>
          <a:lstStyle/>
          <a:p>
            <a:r>
              <a:rPr lang="en-US" dirty="0"/>
              <a:t>Components Deep Div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5596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Component Lifecyc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806008" y="1428750"/>
            <a:ext cx="11062719" cy="4643751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en-US" dirty="0"/>
              <a:t>Each Angular application goes through a lifecycle.</a:t>
            </a:r>
          </a:p>
          <a:p>
            <a:pPr>
              <a:lnSpc>
                <a:spcPct val="150000"/>
              </a:lnSpc>
            </a:pPr>
            <a:r>
              <a:rPr lang="en-US" dirty="0"/>
              <a:t>If we want to access the value of an input - to load additional data from the server for example - you have to use a lifecycle phase.</a:t>
            </a:r>
          </a:p>
          <a:p>
            <a:pPr algn="just">
              <a:lnSpc>
                <a:spcPct val="150000"/>
              </a:lnSpc>
            </a:pPr>
            <a:r>
              <a:rPr lang="en-US" dirty="0"/>
              <a:t>The constructor of the component class is called before any other component lifecycle hook.</a:t>
            </a:r>
          </a:p>
          <a:p>
            <a:pPr algn="just">
              <a:lnSpc>
                <a:spcPct val="150000"/>
              </a:lnSpc>
            </a:pPr>
            <a:r>
              <a:rPr lang="en-US" dirty="0"/>
              <a:t>For best practice inputs of a component should not be accessed via constructor. </a:t>
            </a:r>
          </a:p>
          <a:p>
            <a:pPr algn="just">
              <a:lnSpc>
                <a:spcPct val="150000"/>
              </a:lnSpc>
            </a:pPr>
            <a:r>
              <a:rPr lang="en-US" dirty="0"/>
              <a:t>To access the value of an input for instance to load data from server component’s life cycle phase should be used.</a:t>
            </a:r>
          </a:p>
        </p:txBody>
      </p:sp>
    </p:spTree>
    <p:extLst>
      <p:ext uri="{BB962C8B-B14F-4D97-AF65-F5344CB8AC3E}">
        <p14:creationId xmlns:p14="http://schemas.microsoft.com/office/powerpoint/2010/main" val="162673239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onent Lifecycle (</a:t>
            </a:r>
            <a:r>
              <a:rPr lang="en-US" dirty="0" err="1"/>
              <a:t>Contd</a:t>
            </a:r>
            <a:r>
              <a:rPr lang="en-US" dirty="0"/>
              <a:t>…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en-US" dirty="0"/>
              <a:t>A component has a lifecycle managed by Angular.</a:t>
            </a:r>
          </a:p>
          <a:p>
            <a:pPr>
              <a:lnSpc>
                <a:spcPct val="100000"/>
              </a:lnSpc>
            </a:pPr>
            <a:r>
              <a:rPr lang="en-US" dirty="0"/>
              <a:t>Angular creates it, renders it, creates and renders its children, checks it when its data-bound properties change, and destroys it before removing it from the DOM.</a:t>
            </a:r>
          </a:p>
          <a:p>
            <a:pPr>
              <a:lnSpc>
                <a:spcPct val="100000"/>
              </a:lnSpc>
            </a:pPr>
            <a:r>
              <a:rPr lang="en-US" dirty="0"/>
              <a:t>Angular offers </a:t>
            </a:r>
            <a:r>
              <a:rPr lang="en-US" b="1" dirty="0"/>
              <a:t>lifecycle hooks</a:t>
            </a:r>
            <a:r>
              <a:rPr lang="en-US" dirty="0"/>
              <a:t> that provide visibility into these key life moments and the ability to act when they occur.</a:t>
            </a:r>
          </a:p>
          <a:p>
            <a:pPr>
              <a:lnSpc>
                <a:spcPct val="100000"/>
              </a:lnSpc>
            </a:pP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40689" y="3669175"/>
            <a:ext cx="4469108" cy="2880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43545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Component Life Cycle Hook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i="1" dirty="0"/>
              <a:t>After</a:t>
            </a:r>
            <a:r>
              <a:rPr lang="en-US" dirty="0"/>
              <a:t> creating a component by calling its constructor, Angular calls the lifecycle hook methods in the following sequence at specific moments:</a:t>
            </a:r>
          </a:p>
          <a:p>
            <a:pPr marL="0" indent="0">
              <a:buNone/>
            </a:pPr>
            <a:endParaRPr 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/>
          </p:nvPr>
        </p:nvGraphicFramePr>
        <p:xfrm>
          <a:off x="2029549" y="2463502"/>
          <a:ext cx="8332461" cy="4125883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12369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20876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54676"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Hook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kern="1200" dirty="0">
                          <a:effectLst/>
                        </a:rPr>
                        <a:t>Purpose and Timing</a:t>
                      </a:r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18705">
                <a:tc>
                  <a:txBody>
                    <a:bodyPr/>
                    <a:lstStyle/>
                    <a:p>
                      <a:pPr algn="just"/>
                      <a:r>
                        <a:rPr lang="en-US" sz="1800" kern="1200" dirty="0" err="1">
                          <a:effectLst/>
                        </a:rPr>
                        <a:t>ngOnChanges</a:t>
                      </a:r>
                      <a:r>
                        <a:rPr lang="en-US" sz="1800" kern="1200" dirty="0">
                          <a:effectLst/>
                        </a:rPr>
                        <a:t>()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800" kern="1200" dirty="0">
                          <a:effectLst/>
                        </a:rPr>
                        <a:t>Respond when Angular (re)sets data-bound input properties. The method receives a </a:t>
                      </a:r>
                      <a:r>
                        <a:rPr lang="en-US" sz="1800" kern="1200" dirty="0" err="1">
                          <a:effectLst/>
                        </a:rPr>
                        <a:t>SimpleChanges</a:t>
                      </a:r>
                      <a:r>
                        <a:rPr lang="en-US" sz="1800" kern="1200" dirty="0">
                          <a:effectLst/>
                        </a:rPr>
                        <a:t> object of current and previous property values. Called before </a:t>
                      </a:r>
                      <a:r>
                        <a:rPr lang="en-US" sz="1800" kern="1200" dirty="0" err="1">
                          <a:effectLst/>
                        </a:rPr>
                        <a:t>ngOnInit</a:t>
                      </a:r>
                      <a:r>
                        <a:rPr lang="en-US" sz="1800" kern="1200" dirty="0">
                          <a:effectLst/>
                        </a:rPr>
                        <a:t>() and whenever one or more data-bound input properties change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52698">
                <a:tc>
                  <a:txBody>
                    <a:bodyPr/>
                    <a:lstStyle/>
                    <a:p>
                      <a:pPr algn="just"/>
                      <a:r>
                        <a:rPr lang="en-US" sz="1800" kern="1200" dirty="0" err="1">
                          <a:effectLst/>
                        </a:rPr>
                        <a:t>ngOnInit</a:t>
                      </a:r>
                      <a:r>
                        <a:rPr lang="en-US" sz="1800" kern="1200" dirty="0">
                          <a:effectLst/>
                        </a:rPr>
                        <a:t>()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800" kern="1200" dirty="0">
                          <a:effectLst/>
                        </a:rPr>
                        <a:t>Initialize the directive/component after Angular first displays the data-bound properties and sets the directive/component's input properties.</a:t>
                      </a:r>
                    </a:p>
                    <a:p>
                      <a:pPr algn="just"/>
                      <a:r>
                        <a:rPr lang="en-US" sz="1800" kern="1200" dirty="0">
                          <a:effectLst/>
                        </a:rPr>
                        <a:t>Called once, after the first </a:t>
                      </a:r>
                      <a:r>
                        <a:rPr lang="en-US" sz="1800" kern="1200" dirty="0" err="1">
                          <a:effectLst/>
                        </a:rPr>
                        <a:t>ngOnChanges</a:t>
                      </a:r>
                      <a:r>
                        <a:rPr lang="en-US" sz="1800" kern="1200" dirty="0">
                          <a:effectLst/>
                        </a:rPr>
                        <a:t>().</a:t>
                      </a:r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152698">
                <a:tc>
                  <a:txBody>
                    <a:bodyPr/>
                    <a:lstStyle/>
                    <a:p>
                      <a:pPr algn="just"/>
                      <a:r>
                        <a:rPr lang="en-US" sz="1800" kern="1200" dirty="0" err="1">
                          <a:effectLst/>
                        </a:rPr>
                        <a:t>ngDoCheck</a:t>
                      </a:r>
                      <a:r>
                        <a:rPr lang="en-US" sz="1800" kern="1200" dirty="0">
                          <a:effectLst/>
                        </a:rPr>
                        <a:t>()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 marL="91508" marR="91508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800" kern="1200" dirty="0">
                          <a:effectLst/>
                        </a:rPr>
                        <a:t>Detect and act upon changes that Angular can't or won't detect on its own. Called during every change detection run, immediately after </a:t>
                      </a:r>
                      <a:r>
                        <a:rPr lang="en-US" sz="1800" kern="1200" dirty="0" err="1">
                          <a:effectLst/>
                        </a:rPr>
                        <a:t>ngOnChanges</a:t>
                      </a:r>
                      <a:r>
                        <a:rPr lang="en-US" sz="1800" kern="1200" dirty="0">
                          <a:effectLst/>
                        </a:rPr>
                        <a:t>() and </a:t>
                      </a:r>
                      <a:r>
                        <a:rPr lang="en-US" sz="1800" kern="1200" dirty="0" err="1">
                          <a:effectLst/>
                        </a:rPr>
                        <a:t>ngOnInit</a:t>
                      </a:r>
                      <a:r>
                        <a:rPr lang="en-US" sz="1800" kern="1200" dirty="0">
                          <a:effectLst/>
                        </a:rPr>
                        <a:t>().</a:t>
                      </a:r>
                      <a:endParaRPr lang="en-US" sz="1800" b="0" i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508" marR="91508"/>
                </a:tc>
                <a:extLst>
                  <a:ext uri="{0D108BD9-81ED-4DB2-BD59-A6C34878D82A}">
                    <a16:rowId xmlns:a16="http://schemas.microsoft.com/office/drawing/2014/main" val="148820952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514314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43461" y="297873"/>
            <a:ext cx="9601200" cy="1485900"/>
          </a:xfrm>
        </p:spPr>
        <p:txBody>
          <a:bodyPr/>
          <a:lstStyle/>
          <a:p>
            <a:r>
              <a:rPr lang="en-IN" dirty="0"/>
              <a:t>Component Life Cycle Hooks </a:t>
            </a:r>
            <a:r>
              <a:rPr lang="en-US" dirty="0"/>
              <a:t>(</a:t>
            </a:r>
            <a:r>
              <a:rPr lang="en-US" dirty="0" err="1"/>
              <a:t>Contd</a:t>
            </a:r>
            <a:r>
              <a:rPr lang="en-US" dirty="0"/>
              <a:t>…)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/>
          </p:nvPr>
        </p:nvGraphicFramePr>
        <p:xfrm>
          <a:off x="1731944" y="1133918"/>
          <a:ext cx="8744670" cy="5579828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8698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87480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57809"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Hook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kern="1200" dirty="0">
                          <a:effectLst/>
                        </a:rPr>
                        <a:t>Purpose and Timing</a:t>
                      </a:r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62878">
                <a:tc>
                  <a:txBody>
                    <a:bodyPr/>
                    <a:lstStyle/>
                    <a:p>
                      <a:pPr algn="just"/>
                      <a:r>
                        <a:rPr lang="en-US" sz="1800" kern="1200" dirty="0" err="1">
                          <a:effectLst/>
                        </a:rPr>
                        <a:t>ngAfterContentInit</a:t>
                      </a:r>
                      <a:r>
                        <a:rPr lang="en-US" sz="1800" kern="1200" dirty="0">
                          <a:effectLst/>
                        </a:rPr>
                        <a:t>()</a:t>
                      </a:r>
                      <a:endParaRPr lang="en-US" sz="1800" dirty="0"/>
                    </a:p>
                  </a:txBody>
                  <a:tcPr marL="91508" marR="91508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800" kern="1200" dirty="0">
                          <a:effectLst/>
                        </a:rPr>
                        <a:t>Respond after Angular projects external content into the component’s view. Called once after the first </a:t>
                      </a:r>
                      <a:r>
                        <a:rPr lang="en-US" sz="1800" kern="1200" dirty="0" err="1">
                          <a:effectLst/>
                        </a:rPr>
                        <a:t>ngDoCheck</a:t>
                      </a:r>
                      <a:r>
                        <a:rPr lang="en-US" sz="1800" kern="1200" dirty="0">
                          <a:effectLst/>
                        </a:rPr>
                        <a:t>().</a:t>
                      </a:r>
                    </a:p>
                    <a:p>
                      <a:pPr algn="just"/>
                      <a:r>
                        <a:rPr lang="en-US" sz="1800" kern="1200" dirty="0">
                          <a:effectLst/>
                        </a:rPr>
                        <a:t>A component-only hook.</a:t>
                      </a:r>
                      <a:endParaRPr lang="en-US" sz="18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508" marR="91508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162878">
                <a:tc>
                  <a:txBody>
                    <a:bodyPr/>
                    <a:lstStyle/>
                    <a:p>
                      <a:pPr algn="just"/>
                      <a:r>
                        <a:rPr lang="en-US" sz="1800" kern="1200" dirty="0" err="1">
                          <a:effectLst/>
                        </a:rPr>
                        <a:t>ngAfterViewInit</a:t>
                      </a:r>
                      <a:r>
                        <a:rPr lang="en-US" sz="1800" kern="1200" dirty="0">
                          <a:effectLst/>
                        </a:rPr>
                        <a:t>()</a:t>
                      </a:r>
                      <a:endParaRPr lang="en-US" sz="1800" dirty="0"/>
                    </a:p>
                  </a:txBody>
                  <a:tcPr marL="91508" marR="91508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800" kern="1200" dirty="0">
                          <a:effectLst/>
                        </a:rPr>
                        <a:t>Respond after Angular initializes the component’s views and child views. Called once after the first </a:t>
                      </a:r>
                      <a:r>
                        <a:rPr lang="en-US" sz="1800" kern="1200" dirty="0" err="1">
                          <a:effectLst/>
                        </a:rPr>
                        <a:t>ngAfterContentChecked</a:t>
                      </a:r>
                      <a:r>
                        <a:rPr lang="en-US" sz="1800" kern="1200" dirty="0">
                          <a:effectLst/>
                        </a:rPr>
                        <a:t>().</a:t>
                      </a:r>
                    </a:p>
                    <a:p>
                      <a:pPr algn="just"/>
                      <a:r>
                        <a:rPr lang="en-US" sz="1800" kern="1200" dirty="0">
                          <a:effectLst/>
                        </a:rPr>
                        <a:t>A component-only hook.</a:t>
                      </a:r>
                      <a:endParaRPr lang="en-US" sz="18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508" marR="91508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431235">
                <a:tc>
                  <a:txBody>
                    <a:bodyPr/>
                    <a:lstStyle/>
                    <a:p>
                      <a:pPr algn="just"/>
                      <a:r>
                        <a:rPr lang="en-US" sz="1800" kern="1200" dirty="0" err="1">
                          <a:effectLst/>
                        </a:rPr>
                        <a:t>ngAfterViewChecked</a:t>
                      </a:r>
                      <a:r>
                        <a:rPr lang="en-US" sz="1800" kern="1200" dirty="0">
                          <a:effectLst/>
                        </a:rPr>
                        <a:t>()</a:t>
                      </a:r>
                      <a:endParaRPr lang="en-US" sz="1800" dirty="0"/>
                    </a:p>
                  </a:txBody>
                  <a:tcPr marL="91508" marR="91508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800" kern="1200" dirty="0">
                          <a:effectLst/>
                        </a:rPr>
                        <a:t>Respond after Angular checks the component’s views and child views. Called after the </a:t>
                      </a:r>
                      <a:r>
                        <a:rPr lang="en-US" sz="1800" kern="1200" dirty="0" err="1">
                          <a:effectLst/>
                        </a:rPr>
                        <a:t>ngAfterViewInit</a:t>
                      </a:r>
                      <a:r>
                        <a:rPr lang="en-US" sz="1800" kern="1200" dirty="0">
                          <a:effectLst/>
                        </a:rPr>
                        <a:t> and every subsequent </a:t>
                      </a:r>
                      <a:r>
                        <a:rPr lang="en-US" sz="1800" kern="1200" dirty="0" err="1">
                          <a:effectLst/>
                        </a:rPr>
                        <a:t>ngAfterContentChecked</a:t>
                      </a:r>
                      <a:r>
                        <a:rPr lang="en-US" sz="1800" kern="1200" dirty="0">
                          <a:effectLst/>
                        </a:rPr>
                        <a:t>().</a:t>
                      </a:r>
                    </a:p>
                    <a:p>
                      <a:pPr algn="just"/>
                      <a:r>
                        <a:rPr lang="en-US" sz="1800" kern="1200" dirty="0">
                          <a:effectLst/>
                        </a:rPr>
                        <a:t>A component-only hook.</a:t>
                      </a:r>
                      <a:endParaRPr lang="en-US" sz="18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508" marR="91508"/>
                </a:tc>
                <a:extLst>
                  <a:ext uri="{0D108BD9-81ED-4DB2-BD59-A6C34878D82A}">
                    <a16:rowId xmlns:a16="http://schemas.microsoft.com/office/drawing/2014/main" val="1523696993"/>
                  </a:ext>
                </a:extLst>
              </a:tr>
              <a:tr h="1431235">
                <a:tc>
                  <a:txBody>
                    <a:bodyPr/>
                    <a:lstStyle/>
                    <a:p>
                      <a:pPr algn="just"/>
                      <a:r>
                        <a:rPr lang="en-US" sz="1800" b="0" i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gOnDestroy</a:t>
                      </a:r>
                      <a:r>
                        <a:rPr lang="en-US" sz="18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)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 marL="88273" marR="88273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8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leanup just before Angular destroys the directive/component. Unsubscribe Observables and detach event handlers to avoid memory leaks. Called </a:t>
                      </a:r>
                      <a:r>
                        <a:rPr lang="en-US" sz="1800" b="0" i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ust before</a:t>
                      </a:r>
                      <a:r>
                        <a:rPr lang="en-US" sz="18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Angular destroys the directive/component.</a:t>
                      </a:r>
                    </a:p>
                  </a:txBody>
                  <a:tcPr marL="88273" marR="88273"/>
                </a:tc>
                <a:extLst>
                  <a:ext uri="{0D108BD9-81ED-4DB2-BD59-A6C34878D82A}">
                    <a16:rowId xmlns:a16="http://schemas.microsoft.com/office/drawing/2014/main" val="40169471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139108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uting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1134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heme/theme1.xml><?xml version="1.0" encoding="utf-8"?>
<a:theme xmlns:a="http://schemas.openxmlformats.org/drawingml/2006/main" name="Crop">
  <a:themeElements>
    <a:clrScheme name="Office 2007-2010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rop">
      <a:majorFont>
        <a:latin typeface="Franklin Gothic Book" panose="020B0503020102020204"/>
        <a:ea typeface=""/>
        <a:cs typeface=""/>
        <a:font script="Jpan" typeface="メイリオ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Franklin Gothic Book" panose="020B0503020102020204"/>
        <a:ea typeface=""/>
        <a:cs typeface=""/>
        <a:font script="Jpan" typeface="メイリオ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Crop">
      <a:fillStyleLst>
        <a:solidFill>
          <a:schemeClr val="phClr"/>
        </a:solidFill>
        <a:gradFill rotWithShape="1">
          <a:gsLst>
            <a:gs pos="0">
              <a:schemeClr val="phClr">
                <a:tint val="67000"/>
                <a:satMod val="105000"/>
                <a:lumMod val="110000"/>
              </a:schemeClr>
            </a:gs>
            <a:gs pos="50000">
              <a:schemeClr val="phClr">
                <a:tint val="73000"/>
                <a:satMod val="103000"/>
                <a:lumMod val="105000"/>
              </a:schemeClr>
            </a:gs>
            <a:gs pos="100000">
              <a:schemeClr val="phClr">
                <a:tint val="81000"/>
                <a:satMod val="109000"/>
                <a:lumMod val="105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4000"/>
                <a:satMod val="103000"/>
                <a:lumMod val="102000"/>
              </a:schemeClr>
            </a:gs>
            <a:gs pos="50000">
              <a:schemeClr val="phClr">
                <a:shade val="100000"/>
                <a:satMod val="110000"/>
                <a:lumMod val="100000"/>
              </a:schemeClr>
            </a:gs>
            <a:gs pos="100000">
              <a:schemeClr val="phClr">
                <a:shade val="78000"/>
                <a:satMod val="120000"/>
                <a:lumMod val="99000"/>
              </a:schemeClr>
            </a:gs>
          </a:gsLst>
          <a:lin ang="5400000" scaled="0"/>
        </a:gradFill>
      </a:fillStyleLst>
      <a:lnStyleLst>
        <a:ln w="6350" cap="flat" cmpd="sng" algn="in">
          <a:solidFill>
            <a:schemeClr val="phClr"/>
          </a:solidFill>
          <a:prstDash val="solid"/>
        </a:ln>
        <a:ln w="34925" cap="flat" cmpd="sng" algn="in">
          <a:solidFill>
            <a:schemeClr val="phClr"/>
          </a:solidFill>
          <a:prstDash val="solid"/>
        </a:ln>
        <a:ln w="19050" cap="flat" cmpd="sng" algn="in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50000"/>
                <a:lumMod val="102000"/>
              </a:schemeClr>
            </a:gs>
            <a:gs pos="50000">
              <a:schemeClr val="phClr">
                <a:tint val="98000"/>
                <a:shade val="90000"/>
                <a:satMod val="13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rop" id="{EC9488ED-E761-4D60-9AC4-764D1FE2C171}" vid="{CE19780C-D67D-4C13-9DE9-A52BC3BA51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Version xmlns="http://schemas.microsoft.com/sharepoint/v3/fields" xsi:nil="true"/>
    <_DCDateModified xmlns="http://schemas.microsoft.com/sharepoint/v3/fields" xsi:nil="true"/>
    <Level xmlns="26bed2a0-a239-4228-bd8e-b46f54fc12da">L1</Level>
    <Material_x0020_Type xmlns="26bed2a0-a239-4228-bd8e-b46f54fc12da">Class book</Material_x0020_Type>
    <Category xmlns="26bed2a0-a239-4228-bd8e-b46f54fc12da">Module Artifact</Category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64F797F9BD2124B9B89E1787624A7F8" ma:contentTypeVersion="10" ma:contentTypeDescription="Create a new document." ma:contentTypeScope="" ma:versionID="9c6744cef3b63dc926475b7dcd1b6858">
  <xsd:schema xmlns:xsd="http://www.w3.org/2001/XMLSchema" xmlns:xs="http://www.w3.org/2001/XMLSchema" xmlns:p="http://schemas.microsoft.com/office/2006/metadata/properties" xmlns:ns2="http://schemas.microsoft.com/sharepoint/v3/fields" xmlns:ns3="26bed2a0-a239-4228-bd8e-b46f54fc12da" targetNamespace="http://schemas.microsoft.com/office/2006/metadata/properties" ma:root="true" ma:fieldsID="67ee57ba3d6bba7dddc705dba4695c0f" ns2:_="" ns3:_="">
    <xsd:import namespace="http://schemas.microsoft.com/sharepoint/v3/fields"/>
    <xsd:import namespace="26bed2a0-a239-4228-bd8e-b46f54fc12da"/>
    <xsd:element name="properties">
      <xsd:complexType>
        <xsd:sequence>
          <xsd:element name="documentManagement">
            <xsd:complexType>
              <xsd:all>
                <xsd:element ref="ns2:_Version" minOccurs="0"/>
                <xsd:element ref="ns3:Level"/>
                <xsd:element ref="ns3:Category"/>
                <xsd:element ref="ns2:_DCDateModified" minOccurs="0"/>
                <xsd:element ref="ns3:Material_x0020_Type"/>
                <xsd:element ref="ns3:MediaServiceMetadata" minOccurs="0"/>
                <xsd:element ref="ns3:MediaServiceFastMetadata" minOccurs="0"/>
                <xsd:element ref="ns3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_Version" ma:index="8" nillable="true" ma:displayName="Version" ma:internalName="_Version">
      <xsd:simpleType>
        <xsd:restriction base="dms:Text"/>
      </xsd:simpleType>
    </xsd:element>
    <xsd:element name="_DCDateModified" ma:index="11" nillable="true" ma:displayName="Date Modified" ma:description="The date on which this resource was last modified" ma:format="DateTime" ma:internalName="_DCDateModified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6bed2a0-a239-4228-bd8e-b46f54fc12da" elementFormDefault="qualified">
    <xsd:import namespace="http://schemas.microsoft.com/office/2006/documentManagement/types"/>
    <xsd:import namespace="http://schemas.microsoft.com/office/infopath/2007/PartnerControls"/>
    <xsd:element name="Level" ma:index="9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10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2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  <xsd:element name="MediaServiceMetadata" ma:index="13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5DEBD22-DB69-4903-857A-738C238D1658}">
  <ds:schemaRefs>
    <ds:schemaRef ds:uri="http://schemas.microsoft.com/office/2006/metadata/properties"/>
    <ds:schemaRef ds:uri="http://schemas.microsoft.com/office/infopath/2007/PartnerControls"/>
    <ds:schemaRef ds:uri="http://schemas.microsoft.com/sharepoint/v3/fields"/>
    <ds:schemaRef ds:uri="26bed2a0-a239-4228-bd8e-b46f54fc12da"/>
  </ds:schemaRefs>
</ds:datastoreItem>
</file>

<file path=customXml/itemProps2.xml><?xml version="1.0" encoding="utf-8"?>
<ds:datastoreItem xmlns:ds="http://schemas.openxmlformats.org/officeDocument/2006/customXml" ds:itemID="{DDBB2F9D-7A51-4278-935C-784632CD033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AD8C0E4-FACD-445A-9A00-1CD5CA1235B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/fields"/>
    <ds:schemaRef ds:uri="26bed2a0-a239-4228-bd8e-b46f54fc12d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M10001105[[fn=Crop]]</Template>
  <TotalTime>2618</TotalTime>
  <Words>1847</Words>
  <Application>Microsoft Office PowerPoint</Application>
  <PresentationFormat>Widescreen</PresentationFormat>
  <Paragraphs>251</Paragraphs>
  <Slides>32</Slides>
  <Notes>16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2</vt:i4>
      </vt:variant>
    </vt:vector>
  </HeadingPairs>
  <TitlesOfParts>
    <vt:vector size="39" baseType="lpstr">
      <vt:lpstr>Arial</vt:lpstr>
      <vt:lpstr>Calibri</vt:lpstr>
      <vt:lpstr>Consolas</vt:lpstr>
      <vt:lpstr>Franklin Gothic Book</vt:lpstr>
      <vt:lpstr>Wingdings</vt:lpstr>
      <vt:lpstr>Crop</vt:lpstr>
      <vt:lpstr>think-cell Slide</vt:lpstr>
      <vt:lpstr>      Angular 6</vt:lpstr>
      <vt:lpstr>Components Deep Dive / Routing</vt:lpstr>
      <vt:lpstr>Components Deep Dive / Routing</vt:lpstr>
      <vt:lpstr>Components Deep Dive</vt:lpstr>
      <vt:lpstr>Component Lifecycle</vt:lpstr>
      <vt:lpstr>Component Lifecycle (Contd…)</vt:lpstr>
      <vt:lpstr>Component Life Cycle Hooks</vt:lpstr>
      <vt:lpstr>Component Life Cycle Hooks (Contd…)</vt:lpstr>
      <vt:lpstr>Routing</vt:lpstr>
      <vt:lpstr>Routing</vt:lpstr>
      <vt:lpstr>AngularJS Routes</vt:lpstr>
      <vt:lpstr>Routing Setup</vt:lpstr>
      <vt:lpstr>Components of Angular routing</vt:lpstr>
      <vt:lpstr>Router </vt:lpstr>
      <vt:lpstr>Router (Contd…)</vt:lpstr>
      <vt:lpstr>Router (Contd…)</vt:lpstr>
      <vt:lpstr>Routes</vt:lpstr>
      <vt:lpstr>RouterOutlet</vt:lpstr>
      <vt:lpstr>Navigating with Router links</vt:lpstr>
      <vt:lpstr>RouterOutlet &amp; RouterLink</vt:lpstr>
      <vt:lpstr>Routing Strategies</vt:lpstr>
      <vt:lpstr>Passing Parameters to Routes</vt:lpstr>
      <vt:lpstr>ActivatedRoute</vt:lpstr>
      <vt:lpstr>Understanding Navigation Paths</vt:lpstr>
      <vt:lpstr>Navigating Programmatically</vt:lpstr>
      <vt:lpstr>Passing Query Parameters and Fragments</vt:lpstr>
      <vt:lpstr>Setting up Child (Nested) Routes</vt:lpstr>
      <vt:lpstr>Passing static data on routes</vt:lpstr>
      <vt:lpstr>Map() operator and switchMap() operator</vt:lpstr>
      <vt:lpstr>Redirecting and wildcard routes</vt:lpstr>
      <vt:lpstr>Outsourcing Route Configuration  (create custom module)</vt:lpstr>
      <vt:lpstr>Demo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eb Technologies</dc:title>
  <dc:creator>VISHAL</dc:creator>
  <cp:lastModifiedBy>Srivastava, Vaishali</cp:lastModifiedBy>
  <cp:revision>416</cp:revision>
  <dcterms:created xsi:type="dcterms:W3CDTF">2017-07-28T13:43:20Z</dcterms:created>
  <dcterms:modified xsi:type="dcterms:W3CDTF">2020-09-07T13:43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64F797F9BD2124B9B89E1787624A7F8</vt:lpwstr>
  </property>
</Properties>
</file>